
<file path=[Content_Types].xml><?xml version="1.0" encoding="utf-8"?>
<Types xmlns="http://schemas.openxmlformats.org/package/2006/content-types">
  <Default Extension="xml" ContentType="application/xml"/>
  <Default Extension="jpg" ContentType="image/jpeg"/>
  <Default Extension="rels" ContentType="application/vnd.openxmlformats-package.relationships+xml"/>
  <Default Extension="emf" ContentType="image/x-emf"/>
  <Default Extension="vml" ContentType="application/vnd.openxmlformats-officedocument.vmlDrawing"/>
  <Default Extension="bin" ContentType="application/vnd.openxmlformats-officedocument.oleObject"/>
  <Default Extension="png" ContentType="image/p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7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4" Type="http://schemas.openxmlformats.org/officeDocument/2006/relationships/custom-properties" Target="docProps/custom.xml"/><Relationship Id="rId1" Type="http://schemas.openxmlformats.org/officeDocument/2006/relationships/officeDocument" Target="ppt/presentation.xml"/><Relationship Id="rId2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767" r:id="rId1"/>
  </p:sldMasterIdLst>
  <p:notesMasterIdLst>
    <p:notesMasterId r:id="rId8"/>
  </p:notesMasterIdLst>
  <p:handoutMasterIdLst>
    <p:handoutMasterId r:id="rId9"/>
  </p:handoutMasterIdLst>
  <p:sldIdLst>
    <p:sldId id="379" r:id="rId2"/>
    <p:sldId id="380" r:id="rId3"/>
    <p:sldId id="381" r:id="rId4"/>
    <p:sldId id="383" r:id="rId5"/>
    <p:sldId id="382" r:id="rId6"/>
    <p:sldId id="384" r:id="rId7"/>
  </p:sldIdLst>
  <p:sldSz cx="9144000" cy="6858000" type="screen4x3"/>
  <p:notesSz cx="7099300" cy="10234613"/>
  <p:custDataLst>
    <p:tags r:id="rId10"/>
  </p:custDataLst>
  <p:defaultTextStyle>
    <a:defPPr>
      <a:defRPr lang="de-DE"/>
    </a:defPPr>
    <a:lvl1pPr algn="l" defTabSz="457200" rtl="0" fontAlgn="base">
      <a:lnSpc>
        <a:spcPts val="1800"/>
      </a:lnSpc>
      <a:spcBef>
        <a:spcPct val="50000"/>
      </a:spcBef>
      <a:spcAft>
        <a:spcPct val="0"/>
      </a:spcAft>
      <a:buClr>
        <a:schemeClr val="tx2"/>
      </a:buClr>
      <a:buSzPct val="75000"/>
      <a:buFont typeface="Wingdings" pitchFamily="2" charset="2"/>
      <a:defRPr kern="1200">
        <a:solidFill>
          <a:schemeClr val="tx1"/>
        </a:solidFill>
        <a:latin typeface="Tele-GroteskFet" pitchFamily="2" charset="0"/>
        <a:ea typeface="+mn-ea"/>
        <a:cs typeface="+mn-cs"/>
      </a:defRPr>
    </a:lvl1pPr>
    <a:lvl2pPr marL="457200" algn="l" defTabSz="457200" rtl="0" fontAlgn="base">
      <a:lnSpc>
        <a:spcPts val="1800"/>
      </a:lnSpc>
      <a:spcBef>
        <a:spcPct val="50000"/>
      </a:spcBef>
      <a:spcAft>
        <a:spcPct val="0"/>
      </a:spcAft>
      <a:buClr>
        <a:schemeClr val="tx2"/>
      </a:buClr>
      <a:buSzPct val="75000"/>
      <a:buFont typeface="Wingdings" pitchFamily="2" charset="2"/>
      <a:defRPr kern="1200">
        <a:solidFill>
          <a:schemeClr val="tx1"/>
        </a:solidFill>
        <a:latin typeface="Tele-GroteskFet" pitchFamily="2" charset="0"/>
        <a:ea typeface="+mn-ea"/>
        <a:cs typeface="+mn-cs"/>
      </a:defRPr>
    </a:lvl2pPr>
    <a:lvl3pPr marL="914400" algn="l" defTabSz="457200" rtl="0" fontAlgn="base">
      <a:lnSpc>
        <a:spcPts val="1800"/>
      </a:lnSpc>
      <a:spcBef>
        <a:spcPct val="50000"/>
      </a:spcBef>
      <a:spcAft>
        <a:spcPct val="0"/>
      </a:spcAft>
      <a:buClr>
        <a:schemeClr val="tx2"/>
      </a:buClr>
      <a:buSzPct val="75000"/>
      <a:buFont typeface="Wingdings" pitchFamily="2" charset="2"/>
      <a:defRPr kern="1200">
        <a:solidFill>
          <a:schemeClr val="tx1"/>
        </a:solidFill>
        <a:latin typeface="Tele-GroteskFet" pitchFamily="2" charset="0"/>
        <a:ea typeface="+mn-ea"/>
        <a:cs typeface="+mn-cs"/>
      </a:defRPr>
    </a:lvl3pPr>
    <a:lvl4pPr marL="1371600" algn="l" defTabSz="457200" rtl="0" fontAlgn="base">
      <a:lnSpc>
        <a:spcPts val="1800"/>
      </a:lnSpc>
      <a:spcBef>
        <a:spcPct val="50000"/>
      </a:spcBef>
      <a:spcAft>
        <a:spcPct val="0"/>
      </a:spcAft>
      <a:buClr>
        <a:schemeClr val="tx2"/>
      </a:buClr>
      <a:buSzPct val="75000"/>
      <a:buFont typeface="Wingdings" pitchFamily="2" charset="2"/>
      <a:defRPr kern="1200">
        <a:solidFill>
          <a:schemeClr val="tx1"/>
        </a:solidFill>
        <a:latin typeface="Tele-GroteskFet" pitchFamily="2" charset="0"/>
        <a:ea typeface="+mn-ea"/>
        <a:cs typeface="+mn-cs"/>
      </a:defRPr>
    </a:lvl4pPr>
    <a:lvl5pPr marL="1828800" algn="l" defTabSz="457200" rtl="0" fontAlgn="base">
      <a:lnSpc>
        <a:spcPts val="1800"/>
      </a:lnSpc>
      <a:spcBef>
        <a:spcPct val="50000"/>
      </a:spcBef>
      <a:spcAft>
        <a:spcPct val="0"/>
      </a:spcAft>
      <a:buClr>
        <a:schemeClr val="tx2"/>
      </a:buClr>
      <a:buSzPct val="75000"/>
      <a:buFont typeface="Wingdings" pitchFamily="2" charset="2"/>
      <a:defRPr kern="1200">
        <a:solidFill>
          <a:schemeClr val="tx1"/>
        </a:solidFill>
        <a:latin typeface="Tele-GroteskFet" pitchFamily="2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Tele-GroteskFet" pitchFamily="2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Tele-GroteskFet" pitchFamily="2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Tele-GroteskFet" pitchFamily="2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Tele-GroteskFet" pitchFamily="2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0">
          <p15:clr>
            <a:srgbClr val="A4A3A4"/>
          </p15:clr>
        </p15:guide>
        <p15:guide id="2" orient="horz" pos="710">
          <p15:clr>
            <a:srgbClr val="A4A3A4"/>
          </p15:clr>
        </p15:guide>
        <p15:guide id="3" orient="horz" pos="1117">
          <p15:clr>
            <a:srgbClr val="A4A3A4"/>
          </p15:clr>
        </p15:guide>
        <p15:guide id="4" orient="horz" pos="829">
          <p15:clr>
            <a:srgbClr val="A4A3A4"/>
          </p15:clr>
        </p15:guide>
        <p15:guide id="5" orient="horz" pos="3634">
          <p15:clr>
            <a:srgbClr val="A4A3A4"/>
          </p15:clr>
        </p15:guide>
        <p15:guide id="6" orient="horz" pos="3815">
          <p15:clr>
            <a:srgbClr val="A4A3A4"/>
          </p15:clr>
        </p15:guide>
        <p15:guide id="7" orient="horz" pos="4124">
          <p15:clr>
            <a:srgbClr val="A4A3A4"/>
          </p15:clr>
        </p15:guide>
        <p15:guide id="8" orient="horz" pos="3999">
          <p15:clr>
            <a:srgbClr val="A4A3A4"/>
          </p15:clr>
        </p15:guide>
        <p15:guide id="9" pos="2922">
          <p15:clr>
            <a:srgbClr val="A4A3A4"/>
          </p15:clr>
        </p15:guide>
        <p15:guide id="10" pos="201">
          <p15:clr>
            <a:srgbClr val="A4A3A4"/>
          </p15:clr>
        </p15:guide>
        <p15:guide id="11" pos="5556">
          <p15:clr>
            <a:srgbClr val="A4A3A4"/>
          </p15:clr>
        </p15:guide>
        <p15:guide id="12" pos="2838">
          <p15:clr>
            <a:srgbClr val="A4A3A4"/>
          </p15:clr>
        </p15:guide>
        <p15:guide id="13" pos="1560">
          <p15:clr>
            <a:srgbClr val="A4A3A4"/>
          </p15:clr>
        </p15:guide>
        <p15:guide id="14" pos="1470">
          <p15:clr>
            <a:srgbClr val="A4A3A4"/>
          </p15:clr>
        </p15:guide>
        <p15:guide id="15" pos="4197">
          <p15:clr>
            <a:srgbClr val="A4A3A4"/>
          </p15:clr>
        </p15:guide>
        <p15:guide id="16" pos="4282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224">
          <p15:clr>
            <a:srgbClr val="A4A3A4"/>
          </p15:clr>
        </p15:guide>
        <p15:guide id="2" pos="309">
          <p15:clr>
            <a:srgbClr val="A4A3A4"/>
          </p15:clr>
        </p15:guide>
        <p15:guide id="3" pos="4163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clrMru>
    <a:srgbClr val="0C4C8E"/>
    <a:srgbClr val="D8E01F"/>
    <a:srgbClr val="F26522"/>
    <a:srgbClr val="7FC241"/>
    <a:srgbClr val="8F5BA6"/>
    <a:srgbClr val="666666"/>
    <a:srgbClr val="368F9A"/>
    <a:srgbClr val="427BAB"/>
    <a:srgbClr val="64B9E4"/>
    <a:srgbClr val="9F4C9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17292A2E-F333-43FB-9621-5CBBE7FDCDCB}" styleName="Light Style 2 - Acc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6692" autoAdjust="0"/>
    <p:restoredTop sz="90451" autoAdjust="0"/>
  </p:normalViewPr>
  <p:slideViewPr>
    <p:cSldViewPr snapToGrid="0" snapToObjects="1" showGuides="1">
      <p:cViewPr varScale="1">
        <p:scale>
          <a:sx n="70" d="100"/>
          <a:sy n="70" d="100"/>
        </p:scale>
        <p:origin x="184" y="584"/>
      </p:cViewPr>
      <p:guideLst>
        <p:guide orient="horz" pos="210"/>
        <p:guide orient="horz" pos="710"/>
        <p:guide orient="horz" pos="1117"/>
        <p:guide orient="horz" pos="829"/>
        <p:guide orient="horz" pos="3634"/>
        <p:guide orient="horz" pos="3815"/>
        <p:guide orient="horz" pos="4124"/>
        <p:guide orient="horz" pos="3999"/>
        <p:guide pos="2922"/>
        <p:guide pos="201"/>
        <p:guide pos="5556"/>
        <p:guide pos="2838"/>
        <p:guide pos="1560"/>
        <p:guide pos="1470"/>
        <p:guide pos="4197"/>
        <p:guide pos="4282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napToObjects="1" showGuides="1">
      <p:cViewPr varScale="1">
        <p:scale>
          <a:sx n="93" d="100"/>
          <a:sy n="93" d="100"/>
        </p:scale>
        <p:origin x="-5484" y="-120"/>
      </p:cViewPr>
      <p:guideLst>
        <p:guide orient="horz" pos="3224"/>
        <p:guide pos="309"/>
        <p:guide pos="4163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1" Type="http://schemas.openxmlformats.org/officeDocument/2006/relationships/presProps" Target="presProps.xml"/><Relationship Id="rId12" Type="http://schemas.openxmlformats.org/officeDocument/2006/relationships/viewProps" Target="viewProps.xml"/><Relationship Id="rId13" Type="http://schemas.openxmlformats.org/officeDocument/2006/relationships/theme" Target="theme/theme1.xml"/><Relationship Id="rId14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2" Type="http://schemas.openxmlformats.org/officeDocument/2006/relationships/slide" Target="slides/slide1.xml"/><Relationship Id="rId3" Type="http://schemas.openxmlformats.org/officeDocument/2006/relationships/slide" Target="slides/slide2.xml"/><Relationship Id="rId4" Type="http://schemas.openxmlformats.org/officeDocument/2006/relationships/slide" Target="slides/slide3.xml"/><Relationship Id="rId5" Type="http://schemas.openxmlformats.org/officeDocument/2006/relationships/slide" Target="slides/slide4.xml"/><Relationship Id="rId6" Type="http://schemas.openxmlformats.org/officeDocument/2006/relationships/slide" Target="slides/slide5.xml"/><Relationship Id="rId7" Type="http://schemas.openxmlformats.org/officeDocument/2006/relationships/slide" Target="slides/slide6.xml"/><Relationship Id="rId8" Type="http://schemas.openxmlformats.org/officeDocument/2006/relationships/notesMaster" Target="notesMasters/notesMaster1.xml"/><Relationship Id="rId9" Type="http://schemas.openxmlformats.org/officeDocument/2006/relationships/handoutMaster" Target="handoutMasters/handoutMaster1.xml"/><Relationship Id="rId10" Type="http://schemas.openxmlformats.org/officeDocument/2006/relationships/tags" Target="tags/tag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 bwMode="gray">
          <a:xfrm>
            <a:off x="5068888" y="9647238"/>
            <a:ext cx="1150937" cy="288925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ctr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200">
                <a:latin typeface="Tele-GroteskNor" pitchFamily="2" charset="0"/>
              </a:defRPr>
            </a:lvl1pPr>
          </a:lstStyle>
          <a:p>
            <a:fld id="{D864C663-5A34-40F6-9B5B-E6AF9D07141C}" type="datetimeFigureOut">
              <a:rPr lang="de-DE"/>
              <a:pPr/>
              <a:t>11.06.17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 bwMode="gray">
          <a:xfrm>
            <a:off x="492125" y="9647238"/>
            <a:ext cx="4679950" cy="288925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200">
                <a:latin typeface="Tele-GroteskNor" pitchFamily="2" charset="0"/>
              </a:defRPr>
            </a:lvl1pPr>
          </a:lstStyle>
          <a:p>
            <a:r>
              <a:rPr lang="de-DE"/>
              <a:t>– Streng vertraulich, Vertraulich, Intern – Autor / Thema der Präsentation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 bwMode="gray">
          <a:xfrm>
            <a:off x="6362700" y="9647238"/>
            <a:ext cx="490538" cy="288925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1200" smtClean="0">
                <a:latin typeface="+mn-lt"/>
              </a:defRPr>
            </a:lvl1pPr>
          </a:lstStyle>
          <a:p>
            <a:pPr>
              <a:defRPr/>
            </a:pPr>
            <a:fld id="{7B42A9D2-7084-448E-A231-6A2CD9EF7439}" type="slidenum">
              <a:rPr lang="de-DE"/>
              <a:pPr>
                <a:defRPr/>
              </a:pPr>
              <a:t>‹Nr.›</a:t>
            </a:fld>
            <a:endParaRPr lang="de-DE" dirty="0"/>
          </a:p>
        </p:txBody>
      </p:sp>
      <p:grpSp>
        <p:nvGrpSpPr>
          <p:cNvPr id="27653" name="Gruppieren 31"/>
          <p:cNvGrpSpPr>
            <a:grpSpLocks noChangeAspect="1"/>
          </p:cNvGrpSpPr>
          <p:nvPr/>
        </p:nvGrpSpPr>
        <p:grpSpPr bwMode="black">
          <a:xfrm>
            <a:off x="490538" y="169863"/>
            <a:ext cx="6118225" cy="266700"/>
            <a:chOff x="321317" y="6153149"/>
            <a:chExt cx="8498833" cy="371475"/>
          </a:xfrm>
        </p:grpSpPr>
        <p:sp>
          <p:nvSpPr>
            <p:cNvPr id="33" name="Freeform 9"/>
            <p:cNvSpPr>
              <a:spLocks noChangeAspect="1" noEditPoints="1"/>
            </p:cNvSpPr>
            <p:nvPr userDrawn="1"/>
          </p:nvSpPr>
          <p:spPr bwMode="black">
            <a:xfrm>
              <a:off x="7307384" y="6310141"/>
              <a:ext cx="1512766" cy="121615"/>
            </a:xfrm>
            <a:custGeom>
              <a:avLst/>
              <a:gdLst/>
              <a:ahLst/>
              <a:cxnLst>
                <a:cxn ang="0">
                  <a:pos x="72" y="69"/>
                </a:cxn>
                <a:cxn ang="0">
                  <a:pos x="72" y="280"/>
                </a:cxn>
                <a:cxn ang="0">
                  <a:pos x="383" y="156"/>
                </a:cxn>
                <a:cxn ang="0">
                  <a:pos x="344" y="64"/>
                </a:cxn>
                <a:cxn ang="0">
                  <a:pos x="478" y="30"/>
                </a:cxn>
                <a:cxn ang="0">
                  <a:pos x="504" y="243"/>
                </a:cxn>
                <a:cxn ang="0">
                  <a:pos x="441" y="322"/>
                </a:cxn>
                <a:cxn ang="0">
                  <a:pos x="344" y="210"/>
                </a:cxn>
                <a:cxn ang="0">
                  <a:pos x="645" y="8"/>
                </a:cxn>
                <a:cxn ang="0">
                  <a:pos x="818" y="341"/>
                </a:cxn>
                <a:cxn ang="0">
                  <a:pos x="890" y="140"/>
                </a:cxn>
                <a:cxn ang="0">
                  <a:pos x="1034" y="280"/>
                </a:cxn>
                <a:cxn ang="0">
                  <a:pos x="1243" y="274"/>
                </a:cxn>
                <a:cxn ang="0">
                  <a:pos x="1162" y="284"/>
                </a:cxn>
                <a:cxn ang="0">
                  <a:pos x="1228" y="70"/>
                </a:cxn>
                <a:cxn ang="0">
                  <a:pos x="1091" y="8"/>
                </a:cxn>
                <a:cxn ang="0">
                  <a:pos x="1269" y="160"/>
                </a:cxn>
                <a:cxn ang="0">
                  <a:pos x="1382" y="341"/>
                </a:cxn>
                <a:cxn ang="0">
                  <a:pos x="1454" y="140"/>
                </a:cxn>
                <a:cxn ang="0">
                  <a:pos x="1598" y="280"/>
                </a:cxn>
                <a:cxn ang="0">
                  <a:pos x="1727" y="8"/>
                </a:cxn>
                <a:cxn ang="0">
                  <a:pos x="1828" y="341"/>
                </a:cxn>
                <a:cxn ang="0">
                  <a:pos x="2030" y="325"/>
                </a:cxn>
                <a:cxn ang="0">
                  <a:pos x="1980" y="367"/>
                </a:cxn>
                <a:cxn ang="0">
                  <a:pos x="2153" y="8"/>
                </a:cxn>
                <a:cxn ang="0">
                  <a:pos x="2418" y="236"/>
                </a:cxn>
                <a:cxn ang="0">
                  <a:pos x="2341" y="114"/>
                </a:cxn>
                <a:cxn ang="0">
                  <a:pos x="2698" y="212"/>
                </a:cxn>
                <a:cxn ang="0">
                  <a:pos x="2808" y="341"/>
                </a:cxn>
                <a:cxn ang="0">
                  <a:pos x="2524" y="341"/>
                </a:cxn>
                <a:cxn ang="0">
                  <a:pos x="2941" y="292"/>
                </a:cxn>
                <a:cxn ang="0">
                  <a:pos x="2924" y="197"/>
                </a:cxn>
                <a:cxn ang="0">
                  <a:pos x="3026" y="43"/>
                </a:cxn>
                <a:cxn ang="0">
                  <a:pos x="2905" y="65"/>
                </a:cxn>
                <a:cxn ang="0">
                  <a:pos x="3058" y="246"/>
                </a:cxn>
                <a:cxn ang="0">
                  <a:pos x="3331" y="341"/>
                </a:cxn>
                <a:cxn ang="0">
                  <a:pos x="3350" y="8"/>
                </a:cxn>
                <a:cxn ang="0">
                  <a:pos x="3672" y="8"/>
                </a:cxn>
                <a:cxn ang="0">
                  <a:pos x="3659" y="198"/>
                </a:cxn>
                <a:cxn ang="0">
                  <a:pos x="3459" y="341"/>
                </a:cxn>
                <a:cxn ang="0">
                  <a:pos x="3880" y="71"/>
                </a:cxn>
                <a:cxn ang="0">
                  <a:pos x="3732" y="8"/>
                </a:cxn>
                <a:cxn ang="0">
                  <a:pos x="3921" y="183"/>
                </a:cxn>
                <a:cxn ang="0">
                  <a:pos x="3979" y="341"/>
                </a:cxn>
                <a:cxn ang="0">
                  <a:pos x="3866" y="212"/>
                </a:cxn>
                <a:cxn ang="0">
                  <a:pos x="4103" y="284"/>
                </a:cxn>
                <a:cxn ang="0">
                  <a:pos x="4139" y="192"/>
                </a:cxn>
                <a:cxn ang="0">
                  <a:pos x="4173" y="134"/>
                </a:cxn>
                <a:cxn ang="0">
                  <a:pos x="4103" y="142"/>
                </a:cxn>
                <a:cxn ang="0">
                  <a:pos x="4247" y="46"/>
                </a:cxn>
                <a:cxn ang="0">
                  <a:pos x="4162" y="341"/>
                </a:cxn>
                <a:cxn ang="0">
                  <a:pos x="4395" y="341"/>
                </a:cxn>
                <a:cxn ang="0">
                  <a:pos x="4637" y="222"/>
                </a:cxn>
                <a:cxn ang="0">
                  <a:pos x="4528" y="127"/>
                </a:cxn>
                <a:cxn ang="0">
                  <a:pos x="4929" y="262"/>
                </a:cxn>
                <a:cxn ang="0">
                  <a:pos x="4842" y="280"/>
                </a:cxn>
                <a:cxn ang="0">
                  <a:pos x="5027" y="174"/>
                </a:cxn>
                <a:cxn ang="0">
                  <a:pos x="5078" y="341"/>
                </a:cxn>
                <a:cxn ang="0">
                  <a:pos x="5150" y="140"/>
                </a:cxn>
                <a:cxn ang="0">
                  <a:pos x="5294" y="280"/>
                </a:cxn>
                <a:cxn ang="0">
                  <a:pos x="5329" y="69"/>
                </a:cxn>
                <a:cxn ang="0">
                  <a:pos x="5481" y="341"/>
                </a:cxn>
                <a:cxn ang="0">
                  <a:pos x="5571" y="269"/>
                </a:cxn>
              </a:cxnLst>
              <a:rect l="0" t="0" r="r" b="b"/>
              <a:pathLst>
                <a:path w="5644" h="419">
                  <a:moveTo>
                    <a:pt x="0" y="341"/>
                  </a:moveTo>
                  <a:lnTo>
                    <a:pt x="0" y="8"/>
                  </a:lnTo>
                  <a:lnTo>
                    <a:pt x="213" y="8"/>
                  </a:lnTo>
                  <a:lnTo>
                    <a:pt x="213" y="69"/>
                  </a:lnTo>
                  <a:lnTo>
                    <a:pt x="72" y="69"/>
                  </a:lnTo>
                  <a:lnTo>
                    <a:pt x="72" y="140"/>
                  </a:lnTo>
                  <a:lnTo>
                    <a:pt x="200" y="140"/>
                  </a:lnTo>
                  <a:lnTo>
                    <a:pt x="200" y="198"/>
                  </a:lnTo>
                  <a:lnTo>
                    <a:pt x="72" y="198"/>
                  </a:lnTo>
                  <a:lnTo>
                    <a:pt x="72" y="280"/>
                  </a:lnTo>
                  <a:lnTo>
                    <a:pt x="216" y="280"/>
                  </a:lnTo>
                  <a:lnTo>
                    <a:pt x="216" y="341"/>
                  </a:lnTo>
                  <a:lnTo>
                    <a:pt x="0" y="341"/>
                  </a:lnTo>
                  <a:close/>
                  <a:moveTo>
                    <a:pt x="344" y="156"/>
                  </a:moveTo>
                  <a:lnTo>
                    <a:pt x="383" y="156"/>
                  </a:lnTo>
                  <a:cubicBezTo>
                    <a:pt x="405" y="156"/>
                    <a:pt x="420" y="151"/>
                    <a:pt x="428" y="142"/>
                  </a:cubicBezTo>
                  <a:cubicBezTo>
                    <a:pt x="435" y="134"/>
                    <a:pt x="438" y="123"/>
                    <a:pt x="438" y="109"/>
                  </a:cubicBezTo>
                  <a:cubicBezTo>
                    <a:pt x="438" y="92"/>
                    <a:pt x="433" y="79"/>
                    <a:pt x="421" y="71"/>
                  </a:cubicBezTo>
                  <a:cubicBezTo>
                    <a:pt x="414" y="67"/>
                    <a:pt x="402" y="64"/>
                    <a:pt x="385" y="64"/>
                  </a:cubicBezTo>
                  <a:lnTo>
                    <a:pt x="344" y="64"/>
                  </a:lnTo>
                  <a:lnTo>
                    <a:pt x="344" y="156"/>
                  </a:lnTo>
                  <a:close/>
                  <a:moveTo>
                    <a:pt x="273" y="341"/>
                  </a:moveTo>
                  <a:lnTo>
                    <a:pt x="273" y="8"/>
                  </a:lnTo>
                  <a:lnTo>
                    <a:pt x="401" y="8"/>
                  </a:lnTo>
                  <a:cubicBezTo>
                    <a:pt x="434" y="8"/>
                    <a:pt x="460" y="15"/>
                    <a:pt x="478" y="30"/>
                  </a:cubicBezTo>
                  <a:cubicBezTo>
                    <a:pt x="500" y="46"/>
                    <a:pt x="510" y="70"/>
                    <a:pt x="510" y="101"/>
                  </a:cubicBezTo>
                  <a:cubicBezTo>
                    <a:pt x="510" y="126"/>
                    <a:pt x="503" y="147"/>
                    <a:pt x="488" y="164"/>
                  </a:cubicBezTo>
                  <a:cubicBezTo>
                    <a:pt x="481" y="172"/>
                    <a:pt x="473" y="178"/>
                    <a:pt x="462" y="183"/>
                  </a:cubicBezTo>
                  <a:cubicBezTo>
                    <a:pt x="476" y="187"/>
                    <a:pt x="486" y="196"/>
                    <a:pt x="494" y="209"/>
                  </a:cubicBezTo>
                  <a:cubicBezTo>
                    <a:pt x="498" y="216"/>
                    <a:pt x="502" y="228"/>
                    <a:pt x="504" y="243"/>
                  </a:cubicBezTo>
                  <a:cubicBezTo>
                    <a:pt x="505" y="249"/>
                    <a:pt x="507" y="265"/>
                    <a:pt x="508" y="293"/>
                  </a:cubicBezTo>
                  <a:cubicBezTo>
                    <a:pt x="510" y="311"/>
                    <a:pt x="512" y="322"/>
                    <a:pt x="514" y="328"/>
                  </a:cubicBezTo>
                  <a:cubicBezTo>
                    <a:pt x="515" y="332"/>
                    <a:pt x="517" y="336"/>
                    <a:pt x="520" y="341"/>
                  </a:cubicBezTo>
                  <a:lnTo>
                    <a:pt x="446" y="341"/>
                  </a:lnTo>
                  <a:cubicBezTo>
                    <a:pt x="444" y="335"/>
                    <a:pt x="442" y="329"/>
                    <a:pt x="441" y="322"/>
                  </a:cubicBezTo>
                  <a:cubicBezTo>
                    <a:pt x="441" y="318"/>
                    <a:pt x="440" y="303"/>
                    <a:pt x="438" y="279"/>
                  </a:cubicBezTo>
                  <a:cubicBezTo>
                    <a:pt x="436" y="256"/>
                    <a:pt x="433" y="240"/>
                    <a:pt x="429" y="233"/>
                  </a:cubicBezTo>
                  <a:cubicBezTo>
                    <a:pt x="424" y="222"/>
                    <a:pt x="417" y="215"/>
                    <a:pt x="407" y="212"/>
                  </a:cubicBezTo>
                  <a:cubicBezTo>
                    <a:pt x="402" y="211"/>
                    <a:pt x="394" y="210"/>
                    <a:pt x="385" y="210"/>
                  </a:cubicBezTo>
                  <a:lnTo>
                    <a:pt x="344" y="210"/>
                  </a:lnTo>
                  <a:lnTo>
                    <a:pt x="344" y="341"/>
                  </a:lnTo>
                  <a:lnTo>
                    <a:pt x="273" y="341"/>
                  </a:lnTo>
                  <a:close/>
                  <a:moveTo>
                    <a:pt x="573" y="341"/>
                  </a:moveTo>
                  <a:lnTo>
                    <a:pt x="573" y="8"/>
                  </a:lnTo>
                  <a:lnTo>
                    <a:pt x="645" y="8"/>
                  </a:lnTo>
                  <a:lnTo>
                    <a:pt x="645" y="279"/>
                  </a:lnTo>
                  <a:lnTo>
                    <a:pt x="775" y="279"/>
                  </a:lnTo>
                  <a:lnTo>
                    <a:pt x="775" y="341"/>
                  </a:lnTo>
                  <a:lnTo>
                    <a:pt x="573" y="341"/>
                  </a:lnTo>
                  <a:close/>
                  <a:moveTo>
                    <a:pt x="818" y="341"/>
                  </a:moveTo>
                  <a:lnTo>
                    <a:pt x="818" y="8"/>
                  </a:lnTo>
                  <a:lnTo>
                    <a:pt x="1031" y="8"/>
                  </a:lnTo>
                  <a:lnTo>
                    <a:pt x="1031" y="69"/>
                  </a:lnTo>
                  <a:lnTo>
                    <a:pt x="890" y="69"/>
                  </a:lnTo>
                  <a:lnTo>
                    <a:pt x="890" y="140"/>
                  </a:lnTo>
                  <a:lnTo>
                    <a:pt x="1018" y="140"/>
                  </a:lnTo>
                  <a:lnTo>
                    <a:pt x="1018" y="198"/>
                  </a:lnTo>
                  <a:lnTo>
                    <a:pt x="890" y="198"/>
                  </a:lnTo>
                  <a:lnTo>
                    <a:pt x="890" y="280"/>
                  </a:lnTo>
                  <a:lnTo>
                    <a:pt x="1034" y="280"/>
                  </a:lnTo>
                  <a:lnTo>
                    <a:pt x="1034" y="341"/>
                  </a:lnTo>
                  <a:lnTo>
                    <a:pt x="818" y="341"/>
                  </a:lnTo>
                  <a:close/>
                  <a:moveTo>
                    <a:pt x="1162" y="284"/>
                  </a:moveTo>
                  <a:lnTo>
                    <a:pt x="1201" y="284"/>
                  </a:lnTo>
                  <a:cubicBezTo>
                    <a:pt x="1221" y="284"/>
                    <a:pt x="1235" y="280"/>
                    <a:pt x="1243" y="274"/>
                  </a:cubicBezTo>
                  <a:cubicBezTo>
                    <a:pt x="1253" y="265"/>
                    <a:pt x="1259" y="253"/>
                    <a:pt x="1259" y="238"/>
                  </a:cubicBezTo>
                  <a:cubicBezTo>
                    <a:pt x="1259" y="219"/>
                    <a:pt x="1252" y="206"/>
                    <a:pt x="1238" y="199"/>
                  </a:cubicBezTo>
                  <a:cubicBezTo>
                    <a:pt x="1230" y="194"/>
                    <a:pt x="1216" y="192"/>
                    <a:pt x="1198" y="192"/>
                  </a:cubicBezTo>
                  <a:lnTo>
                    <a:pt x="1162" y="192"/>
                  </a:lnTo>
                  <a:lnTo>
                    <a:pt x="1162" y="284"/>
                  </a:lnTo>
                  <a:close/>
                  <a:moveTo>
                    <a:pt x="1162" y="142"/>
                  </a:moveTo>
                  <a:lnTo>
                    <a:pt x="1194" y="142"/>
                  </a:lnTo>
                  <a:cubicBezTo>
                    <a:pt x="1212" y="142"/>
                    <a:pt x="1224" y="140"/>
                    <a:pt x="1232" y="134"/>
                  </a:cubicBezTo>
                  <a:cubicBezTo>
                    <a:pt x="1242" y="127"/>
                    <a:pt x="1247" y="116"/>
                    <a:pt x="1247" y="102"/>
                  </a:cubicBezTo>
                  <a:cubicBezTo>
                    <a:pt x="1247" y="87"/>
                    <a:pt x="1241" y="76"/>
                    <a:pt x="1228" y="70"/>
                  </a:cubicBezTo>
                  <a:cubicBezTo>
                    <a:pt x="1222" y="66"/>
                    <a:pt x="1210" y="64"/>
                    <a:pt x="1194" y="64"/>
                  </a:cubicBezTo>
                  <a:lnTo>
                    <a:pt x="1162" y="64"/>
                  </a:lnTo>
                  <a:lnTo>
                    <a:pt x="1162" y="142"/>
                  </a:lnTo>
                  <a:close/>
                  <a:moveTo>
                    <a:pt x="1091" y="341"/>
                  </a:moveTo>
                  <a:lnTo>
                    <a:pt x="1091" y="8"/>
                  </a:lnTo>
                  <a:lnTo>
                    <a:pt x="1209" y="8"/>
                  </a:lnTo>
                  <a:cubicBezTo>
                    <a:pt x="1233" y="8"/>
                    <a:pt x="1251" y="10"/>
                    <a:pt x="1264" y="14"/>
                  </a:cubicBezTo>
                  <a:cubicBezTo>
                    <a:pt x="1283" y="21"/>
                    <a:pt x="1296" y="31"/>
                    <a:pt x="1305" y="46"/>
                  </a:cubicBezTo>
                  <a:cubicBezTo>
                    <a:pt x="1313" y="59"/>
                    <a:pt x="1317" y="73"/>
                    <a:pt x="1317" y="89"/>
                  </a:cubicBezTo>
                  <a:cubicBezTo>
                    <a:pt x="1317" y="122"/>
                    <a:pt x="1301" y="145"/>
                    <a:pt x="1269" y="160"/>
                  </a:cubicBezTo>
                  <a:cubicBezTo>
                    <a:pt x="1310" y="174"/>
                    <a:pt x="1330" y="201"/>
                    <a:pt x="1330" y="243"/>
                  </a:cubicBezTo>
                  <a:cubicBezTo>
                    <a:pt x="1330" y="279"/>
                    <a:pt x="1317" y="306"/>
                    <a:pt x="1289" y="324"/>
                  </a:cubicBezTo>
                  <a:cubicBezTo>
                    <a:pt x="1272" y="335"/>
                    <a:pt x="1249" y="341"/>
                    <a:pt x="1221" y="341"/>
                  </a:cubicBezTo>
                  <a:lnTo>
                    <a:pt x="1091" y="341"/>
                  </a:lnTo>
                  <a:close/>
                  <a:moveTo>
                    <a:pt x="1382" y="341"/>
                  </a:moveTo>
                  <a:lnTo>
                    <a:pt x="1382" y="8"/>
                  </a:lnTo>
                  <a:lnTo>
                    <a:pt x="1595" y="8"/>
                  </a:lnTo>
                  <a:lnTo>
                    <a:pt x="1595" y="69"/>
                  </a:lnTo>
                  <a:lnTo>
                    <a:pt x="1454" y="69"/>
                  </a:lnTo>
                  <a:lnTo>
                    <a:pt x="1454" y="140"/>
                  </a:lnTo>
                  <a:lnTo>
                    <a:pt x="1583" y="140"/>
                  </a:lnTo>
                  <a:lnTo>
                    <a:pt x="1583" y="198"/>
                  </a:lnTo>
                  <a:lnTo>
                    <a:pt x="1454" y="198"/>
                  </a:lnTo>
                  <a:lnTo>
                    <a:pt x="1454" y="280"/>
                  </a:lnTo>
                  <a:lnTo>
                    <a:pt x="1598" y="280"/>
                  </a:lnTo>
                  <a:lnTo>
                    <a:pt x="1598" y="341"/>
                  </a:lnTo>
                  <a:lnTo>
                    <a:pt x="1382" y="341"/>
                  </a:lnTo>
                  <a:close/>
                  <a:moveTo>
                    <a:pt x="1655" y="341"/>
                  </a:moveTo>
                  <a:lnTo>
                    <a:pt x="1655" y="8"/>
                  </a:lnTo>
                  <a:lnTo>
                    <a:pt x="1727" y="8"/>
                  </a:lnTo>
                  <a:lnTo>
                    <a:pt x="1831" y="222"/>
                  </a:lnTo>
                  <a:lnTo>
                    <a:pt x="1831" y="8"/>
                  </a:lnTo>
                  <a:lnTo>
                    <a:pt x="1900" y="8"/>
                  </a:lnTo>
                  <a:lnTo>
                    <a:pt x="1900" y="341"/>
                  </a:lnTo>
                  <a:lnTo>
                    <a:pt x="1828" y="341"/>
                  </a:lnTo>
                  <a:lnTo>
                    <a:pt x="1723" y="127"/>
                  </a:lnTo>
                  <a:lnTo>
                    <a:pt x="1723" y="341"/>
                  </a:lnTo>
                  <a:lnTo>
                    <a:pt x="1655" y="341"/>
                  </a:lnTo>
                  <a:close/>
                  <a:moveTo>
                    <a:pt x="2030" y="269"/>
                  </a:moveTo>
                  <a:lnTo>
                    <a:pt x="2030" y="325"/>
                  </a:lnTo>
                  <a:cubicBezTo>
                    <a:pt x="2030" y="347"/>
                    <a:pt x="2027" y="364"/>
                    <a:pt x="2021" y="377"/>
                  </a:cubicBezTo>
                  <a:cubicBezTo>
                    <a:pt x="2016" y="388"/>
                    <a:pt x="2006" y="398"/>
                    <a:pt x="1992" y="407"/>
                  </a:cubicBezTo>
                  <a:cubicBezTo>
                    <a:pt x="1982" y="413"/>
                    <a:pt x="1970" y="417"/>
                    <a:pt x="1957" y="419"/>
                  </a:cubicBezTo>
                  <a:lnTo>
                    <a:pt x="1957" y="384"/>
                  </a:lnTo>
                  <a:cubicBezTo>
                    <a:pt x="1967" y="381"/>
                    <a:pt x="1975" y="376"/>
                    <a:pt x="1980" y="367"/>
                  </a:cubicBezTo>
                  <a:cubicBezTo>
                    <a:pt x="1985" y="360"/>
                    <a:pt x="1988" y="351"/>
                    <a:pt x="1988" y="341"/>
                  </a:cubicBezTo>
                  <a:lnTo>
                    <a:pt x="1957" y="341"/>
                  </a:lnTo>
                  <a:lnTo>
                    <a:pt x="1957" y="269"/>
                  </a:lnTo>
                  <a:lnTo>
                    <a:pt x="2030" y="269"/>
                  </a:lnTo>
                  <a:close/>
                  <a:moveTo>
                    <a:pt x="2153" y="8"/>
                  </a:moveTo>
                  <a:lnTo>
                    <a:pt x="2225" y="8"/>
                  </a:lnTo>
                  <a:lnTo>
                    <a:pt x="2265" y="236"/>
                  </a:lnTo>
                  <a:lnTo>
                    <a:pt x="2308" y="8"/>
                  </a:lnTo>
                  <a:lnTo>
                    <a:pt x="2376" y="8"/>
                  </a:lnTo>
                  <a:lnTo>
                    <a:pt x="2418" y="236"/>
                  </a:lnTo>
                  <a:lnTo>
                    <a:pt x="2459" y="8"/>
                  </a:lnTo>
                  <a:lnTo>
                    <a:pt x="2530" y="8"/>
                  </a:lnTo>
                  <a:lnTo>
                    <a:pt x="2455" y="341"/>
                  </a:lnTo>
                  <a:lnTo>
                    <a:pt x="2383" y="341"/>
                  </a:lnTo>
                  <a:lnTo>
                    <a:pt x="2341" y="114"/>
                  </a:lnTo>
                  <a:lnTo>
                    <a:pt x="2300" y="341"/>
                  </a:lnTo>
                  <a:lnTo>
                    <a:pt x="2228" y="341"/>
                  </a:lnTo>
                  <a:lnTo>
                    <a:pt x="2153" y="8"/>
                  </a:lnTo>
                  <a:close/>
                  <a:moveTo>
                    <a:pt x="2634" y="212"/>
                  </a:moveTo>
                  <a:lnTo>
                    <a:pt x="2698" y="212"/>
                  </a:lnTo>
                  <a:lnTo>
                    <a:pt x="2666" y="97"/>
                  </a:lnTo>
                  <a:lnTo>
                    <a:pt x="2634" y="212"/>
                  </a:lnTo>
                  <a:close/>
                  <a:moveTo>
                    <a:pt x="2630" y="8"/>
                  </a:moveTo>
                  <a:lnTo>
                    <a:pt x="2703" y="8"/>
                  </a:lnTo>
                  <a:lnTo>
                    <a:pt x="2808" y="341"/>
                  </a:lnTo>
                  <a:lnTo>
                    <a:pt x="2734" y="341"/>
                  </a:lnTo>
                  <a:lnTo>
                    <a:pt x="2713" y="266"/>
                  </a:lnTo>
                  <a:lnTo>
                    <a:pt x="2618" y="266"/>
                  </a:lnTo>
                  <a:lnTo>
                    <a:pt x="2597" y="341"/>
                  </a:lnTo>
                  <a:lnTo>
                    <a:pt x="2524" y="341"/>
                  </a:lnTo>
                  <a:lnTo>
                    <a:pt x="2630" y="8"/>
                  </a:lnTo>
                  <a:close/>
                  <a:moveTo>
                    <a:pt x="2824" y="243"/>
                  </a:moveTo>
                  <a:lnTo>
                    <a:pt x="2896" y="243"/>
                  </a:lnTo>
                  <a:cubicBezTo>
                    <a:pt x="2898" y="256"/>
                    <a:pt x="2901" y="266"/>
                    <a:pt x="2905" y="272"/>
                  </a:cubicBezTo>
                  <a:cubicBezTo>
                    <a:pt x="2913" y="285"/>
                    <a:pt x="2925" y="292"/>
                    <a:pt x="2941" y="292"/>
                  </a:cubicBezTo>
                  <a:cubicBezTo>
                    <a:pt x="2956" y="292"/>
                    <a:pt x="2967" y="287"/>
                    <a:pt x="2974" y="279"/>
                  </a:cubicBezTo>
                  <a:cubicBezTo>
                    <a:pt x="2981" y="271"/>
                    <a:pt x="2985" y="262"/>
                    <a:pt x="2985" y="250"/>
                  </a:cubicBezTo>
                  <a:cubicBezTo>
                    <a:pt x="2985" y="238"/>
                    <a:pt x="2979" y="227"/>
                    <a:pt x="2968" y="218"/>
                  </a:cubicBezTo>
                  <a:cubicBezTo>
                    <a:pt x="2963" y="213"/>
                    <a:pt x="2956" y="210"/>
                    <a:pt x="2948" y="206"/>
                  </a:cubicBezTo>
                  <a:cubicBezTo>
                    <a:pt x="2946" y="205"/>
                    <a:pt x="2938" y="202"/>
                    <a:pt x="2924" y="197"/>
                  </a:cubicBezTo>
                  <a:cubicBezTo>
                    <a:pt x="2897" y="188"/>
                    <a:pt x="2877" y="178"/>
                    <a:pt x="2865" y="168"/>
                  </a:cubicBezTo>
                  <a:cubicBezTo>
                    <a:pt x="2840" y="149"/>
                    <a:pt x="2828" y="124"/>
                    <a:pt x="2828" y="93"/>
                  </a:cubicBezTo>
                  <a:cubicBezTo>
                    <a:pt x="2828" y="66"/>
                    <a:pt x="2837" y="45"/>
                    <a:pt x="2854" y="28"/>
                  </a:cubicBezTo>
                  <a:cubicBezTo>
                    <a:pt x="2872" y="9"/>
                    <a:pt x="2899" y="0"/>
                    <a:pt x="2932" y="0"/>
                  </a:cubicBezTo>
                  <a:cubicBezTo>
                    <a:pt x="2974" y="0"/>
                    <a:pt x="3005" y="14"/>
                    <a:pt x="3026" y="43"/>
                  </a:cubicBezTo>
                  <a:cubicBezTo>
                    <a:pt x="3035" y="56"/>
                    <a:pt x="3042" y="74"/>
                    <a:pt x="3045" y="95"/>
                  </a:cubicBezTo>
                  <a:lnTo>
                    <a:pt x="2975" y="95"/>
                  </a:lnTo>
                  <a:cubicBezTo>
                    <a:pt x="2973" y="83"/>
                    <a:pt x="2969" y="73"/>
                    <a:pt x="2963" y="67"/>
                  </a:cubicBezTo>
                  <a:cubicBezTo>
                    <a:pt x="2955" y="60"/>
                    <a:pt x="2945" y="57"/>
                    <a:pt x="2931" y="57"/>
                  </a:cubicBezTo>
                  <a:cubicBezTo>
                    <a:pt x="2920" y="57"/>
                    <a:pt x="2911" y="60"/>
                    <a:pt x="2905" y="65"/>
                  </a:cubicBezTo>
                  <a:cubicBezTo>
                    <a:pt x="2898" y="71"/>
                    <a:pt x="2894" y="80"/>
                    <a:pt x="2894" y="91"/>
                  </a:cubicBezTo>
                  <a:cubicBezTo>
                    <a:pt x="2894" y="103"/>
                    <a:pt x="2900" y="113"/>
                    <a:pt x="2911" y="121"/>
                  </a:cubicBezTo>
                  <a:cubicBezTo>
                    <a:pt x="2919" y="127"/>
                    <a:pt x="2935" y="134"/>
                    <a:pt x="2959" y="142"/>
                  </a:cubicBezTo>
                  <a:cubicBezTo>
                    <a:pt x="2987" y="151"/>
                    <a:pt x="3009" y="161"/>
                    <a:pt x="3024" y="174"/>
                  </a:cubicBezTo>
                  <a:cubicBezTo>
                    <a:pt x="3047" y="191"/>
                    <a:pt x="3058" y="215"/>
                    <a:pt x="3058" y="246"/>
                  </a:cubicBezTo>
                  <a:cubicBezTo>
                    <a:pt x="3058" y="276"/>
                    <a:pt x="3048" y="301"/>
                    <a:pt x="3027" y="319"/>
                  </a:cubicBezTo>
                  <a:cubicBezTo>
                    <a:pt x="3005" y="339"/>
                    <a:pt x="2976" y="349"/>
                    <a:pt x="2940" y="349"/>
                  </a:cubicBezTo>
                  <a:cubicBezTo>
                    <a:pt x="2897" y="349"/>
                    <a:pt x="2865" y="333"/>
                    <a:pt x="2844" y="300"/>
                  </a:cubicBezTo>
                  <a:cubicBezTo>
                    <a:pt x="2833" y="284"/>
                    <a:pt x="2826" y="265"/>
                    <a:pt x="2824" y="243"/>
                  </a:cubicBezTo>
                  <a:close/>
                  <a:moveTo>
                    <a:pt x="3331" y="341"/>
                  </a:moveTo>
                  <a:lnTo>
                    <a:pt x="3251" y="341"/>
                  </a:lnTo>
                  <a:lnTo>
                    <a:pt x="3160" y="8"/>
                  </a:lnTo>
                  <a:lnTo>
                    <a:pt x="3235" y="8"/>
                  </a:lnTo>
                  <a:lnTo>
                    <a:pt x="3293" y="248"/>
                  </a:lnTo>
                  <a:lnTo>
                    <a:pt x="3350" y="8"/>
                  </a:lnTo>
                  <a:lnTo>
                    <a:pt x="3423" y="8"/>
                  </a:lnTo>
                  <a:lnTo>
                    <a:pt x="3331" y="341"/>
                  </a:lnTo>
                  <a:close/>
                  <a:moveTo>
                    <a:pt x="3459" y="341"/>
                  </a:moveTo>
                  <a:lnTo>
                    <a:pt x="3459" y="8"/>
                  </a:lnTo>
                  <a:lnTo>
                    <a:pt x="3672" y="8"/>
                  </a:lnTo>
                  <a:lnTo>
                    <a:pt x="3672" y="69"/>
                  </a:lnTo>
                  <a:lnTo>
                    <a:pt x="3530" y="69"/>
                  </a:lnTo>
                  <a:lnTo>
                    <a:pt x="3530" y="140"/>
                  </a:lnTo>
                  <a:lnTo>
                    <a:pt x="3659" y="140"/>
                  </a:lnTo>
                  <a:lnTo>
                    <a:pt x="3659" y="198"/>
                  </a:lnTo>
                  <a:lnTo>
                    <a:pt x="3530" y="198"/>
                  </a:lnTo>
                  <a:lnTo>
                    <a:pt x="3530" y="280"/>
                  </a:lnTo>
                  <a:lnTo>
                    <a:pt x="3675" y="280"/>
                  </a:lnTo>
                  <a:lnTo>
                    <a:pt x="3675" y="341"/>
                  </a:lnTo>
                  <a:lnTo>
                    <a:pt x="3459" y="341"/>
                  </a:lnTo>
                  <a:close/>
                  <a:moveTo>
                    <a:pt x="3803" y="156"/>
                  </a:moveTo>
                  <a:lnTo>
                    <a:pt x="3842" y="156"/>
                  </a:lnTo>
                  <a:cubicBezTo>
                    <a:pt x="3864" y="156"/>
                    <a:pt x="3879" y="151"/>
                    <a:pt x="3887" y="142"/>
                  </a:cubicBezTo>
                  <a:cubicBezTo>
                    <a:pt x="3894" y="134"/>
                    <a:pt x="3897" y="123"/>
                    <a:pt x="3897" y="109"/>
                  </a:cubicBezTo>
                  <a:cubicBezTo>
                    <a:pt x="3897" y="92"/>
                    <a:pt x="3892" y="79"/>
                    <a:pt x="3880" y="71"/>
                  </a:cubicBezTo>
                  <a:cubicBezTo>
                    <a:pt x="3873" y="67"/>
                    <a:pt x="3861" y="64"/>
                    <a:pt x="3844" y="64"/>
                  </a:cubicBezTo>
                  <a:lnTo>
                    <a:pt x="3803" y="64"/>
                  </a:lnTo>
                  <a:lnTo>
                    <a:pt x="3803" y="156"/>
                  </a:lnTo>
                  <a:close/>
                  <a:moveTo>
                    <a:pt x="3732" y="341"/>
                  </a:moveTo>
                  <a:lnTo>
                    <a:pt x="3732" y="8"/>
                  </a:lnTo>
                  <a:lnTo>
                    <a:pt x="3860" y="8"/>
                  </a:lnTo>
                  <a:cubicBezTo>
                    <a:pt x="3893" y="8"/>
                    <a:pt x="3919" y="15"/>
                    <a:pt x="3937" y="30"/>
                  </a:cubicBezTo>
                  <a:cubicBezTo>
                    <a:pt x="3958" y="46"/>
                    <a:pt x="3969" y="70"/>
                    <a:pt x="3969" y="101"/>
                  </a:cubicBezTo>
                  <a:cubicBezTo>
                    <a:pt x="3969" y="126"/>
                    <a:pt x="3962" y="147"/>
                    <a:pt x="3947" y="164"/>
                  </a:cubicBezTo>
                  <a:cubicBezTo>
                    <a:pt x="3940" y="172"/>
                    <a:pt x="3932" y="178"/>
                    <a:pt x="3921" y="183"/>
                  </a:cubicBezTo>
                  <a:cubicBezTo>
                    <a:pt x="3935" y="187"/>
                    <a:pt x="3945" y="196"/>
                    <a:pt x="3953" y="209"/>
                  </a:cubicBezTo>
                  <a:cubicBezTo>
                    <a:pt x="3957" y="216"/>
                    <a:pt x="3961" y="228"/>
                    <a:pt x="3963" y="243"/>
                  </a:cubicBezTo>
                  <a:cubicBezTo>
                    <a:pt x="3964" y="249"/>
                    <a:pt x="3966" y="265"/>
                    <a:pt x="3967" y="293"/>
                  </a:cubicBezTo>
                  <a:cubicBezTo>
                    <a:pt x="3969" y="311"/>
                    <a:pt x="3971" y="322"/>
                    <a:pt x="3973" y="328"/>
                  </a:cubicBezTo>
                  <a:cubicBezTo>
                    <a:pt x="3974" y="332"/>
                    <a:pt x="3976" y="336"/>
                    <a:pt x="3979" y="341"/>
                  </a:cubicBezTo>
                  <a:lnTo>
                    <a:pt x="3905" y="341"/>
                  </a:lnTo>
                  <a:cubicBezTo>
                    <a:pt x="3903" y="335"/>
                    <a:pt x="3901" y="329"/>
                    <a:pt x="3900" y="322"/>
                  </a:cubicBezTo>
                  <a:cubicBezTo>
                    <a:pt x="3900" y="318"/>
                    <a:pt x="3899" y="303"/>
                    <a:pt x="3897" y="279"/>
                  </a:cubicBezTo>
                  <a:cubicBezTo>
                    <a:pt x="3895" y="256"/>
                    <a:pt x="3892" y="240"/>
                    <a:pt x="3888" y="233"/>
                  </a:cubicBezTo>
                  <a:cubicBezTo>
                    <a:pt x="3883" y="222"/>
                    <a:pt x="3876" y="215"/>
                    <a:pt x="3866" y="212"/>
                  </a:cubicBezTo>
                  <a:cubicBezTo>
                    <a:pt x="3861" y="211"/>
                    <a:pt x="3853" y="210"/>
                    <a:pt x="3844" y="210"/>
                  </a:cubicBezTo>
                  <a:lnTo>
                    <a:pt x="3803" y="210"/>
                  </a:lnTo>
                  <a:lnTo>
                    <a:pt x="3803" y="341"/>
                  </a:lnTo>
                  <a:lnTo>
                    <a:pt x="3732" y="341"/>
                  </a:lnTo>
                  <a:close/>
                  <a:moveTo>
                    <a:pt x="4103" y="284"/>
                  </a:moveTo>
                  <a:lnTo>
                    <a:pt x="4142" y="284"/>
                  </a:lnTo>
                  <a:cubicBezTo>
                    <a:pt x="4162" y="284"/>
                    <a:pt x="4176" y="280"/>
                    <a:pt x="4184" y="274"/>
                  </a:cubicBezTo>
                  <a:cubicBezTo>
                    <a:pt x="4195" y="265"/>
                    <a:pt x="4200" y="253"/>
                    <a:pt x="4200" y="238"/>
                  </a:cubicBezTo>
                  <a:cubicBezTo>
                    <a:pt x="4200" y="219"/>
                    <a:pt x="4193" y="206"/>
                    <a:pt x="4179" y="199"/>
                  </a:cubicBezTo>
                  <a:cubicBezTo>
                    <a:pt x="4171" y="194"/>
                    <a:pt x="4158" y="192"/>
                    <a:pt x="4139" y="192"/>
                  </a:cubicBezTo>
                  <a:lnTo>
                    <a:pt x="4103" y="192"/>
                  </a:lnTo>
                  <a:lnTo>
                    <a:pt x="4103" y="284"/>
                  </a:lnTo>
                  <a:close/>
                  <a:moveTo>
                    <a:pt x="4103" y="142"/>
                  </a:moveTo>
                  <a:lnTo>
                    <a:pt x="4135" y="142"/>
                  </a:lnTo>
                  <a:cubicBezTo>
                    <a:pt x="4153" y="142"/>
                    <a:pt x="4165" y="140"/>
                    <a:pt x="4173" y="134"/>
                  </a:cubicBezTo>
                  <a:cubicBezTo>
                    <a:pt x="4183" y="127"/>
                    <a:pt x="4188" y="116"/>
                    <a:pt x="4188" y="102"/>
                  </a:cubicBezTo>
                  <a:cubicBezTo>
                    <a:pt x="4188" y="87"/>
                    <a:pt x="4182" y="76"/>
                    <a:pt x="4170" y="70"/>
                  </a:cubicBezTo>
                  <a:cubicBezTo>
                    <a:pt x="4163" y="66"/>
                    <a:pt x="4152" y="64"/>
                    <a:pt x="4135" y="64"/>
                  </a:cubicBezTo>
                  <a:lnTo>
                    <a:pt x="4103" y="64"/>
                  </a:lnTo>
                  <a:lnTo>
                    <a:pt x="4103" y="142"/>
                  </a:lnTo>
                  <a:close/>
                  <a:moveTo>
                    <a:pt x="4032" y="341"/>
                  </a:moveTo>
                  <a:lnTo>
                    <a:pt x="4032" y="8"/>
                  </a:lnTo>
                  <a:lnTo>
                    <a:pt x="4151" y="8"/>
                  </a:lnTo>
                  <a:cubicBezTo>
                    <a:pt x="4174" y="8"/>
                    <a:pt x="4193" y="10"/>
                    <a:pt x="4205" y="14"/>
                  </a:cubicBezTo>
                  <a:cubicBezTo>
                    <a:pt x="4224" y="21"/>
                    <a:pt x="4238" y="31"/>
                    <a:pt x="4247" y="46"/>
                  </a:cubicBezTo>
                  <a:cubicBezTo>
                    <a:pt x="4255" y="59"/>
                    <a:pt x="4259" y="73"/>
                    <a:pt x="4259" y="89"/>
                  </a:cubicBezTo>
                  <a:cubicBezTo>
                    <a:pt x="4259" y="122"/>
                    <a:pt x="4243" y="145"/>
                    <a:pt x="4211" y="160"/>
                  </a:cubicBezTo>
                  <a:cubicBezTo>
                    <a:pt x="4251" y="174"/>
                    <a:pt x="4272" y="201"/>
                    <a:pt x="4272" y="243"/>
                  </a:cubicBezTo>
                  <a:cubicBezTo>
                    <a:pt x="4272" y="279"/>
                    <a:pt x="4258" y="306"/>
                    <a:pt x="4231" y="324"/>
                  </a:cubicBezTo>
                  <a:cubicBezTo>
                    <a:pt x="4214" y="335"/>
                    <a:pt x="4191" y="341"/>
                    <a:pt x="4162" y="341"/>
                  </a:cubicBezTo>
                  <a:lnTo>
                    <a:pt x="4032" y="341"/>
                  </a:lnTo>
                  <a:close/>
                  <a:moveTo>
                    <a:pt x="4323" y="341"/>
                  </a:moveTo>
                  <a:lnTo>
                    <a:pt x="4323" y="8"/>
                  </a:lnTo>
                  <a:lnTo>
                    <a:pt x="4395" y="8"/>
                  </a:lnTo>
                  <a:lnTo>
                    <a:pt x="4395" y="341"/>
                  </a:lnTo>
                  <a:lnTo>
                    <a:pt x="4323" y="341"/>
                  </a:lnTo>
                  <a:close/>
                  <a:moveTo>
                    <a:pt x="4460" y="341"/>
                  </a:moveTo>
                  <a:lnTo>
                    <a:pt x="4460" y="8"/>
                  </a:lnTo>
                  <a:lnTo>
                    <a:pt x="4532" y="8"/>
                  </a:lnTo>
                  <a:lnTo>
                    <a:pt x="4637" y="222"/>
                  </a:lnTo>
                  <a:lnTo>
                    <a:pt x="4637" y="8"/>
                  </a:lnTo>
                  <a:lnTo>
                    <a:pt x="4705" y="8"/>
                  </a:lnTo>
                  <a:lnTo>
                    <a:pt x="4705" y="341"/>
                  </a:lnTo>
                  <a:lnTo>
                    <a:pt x="4634" y="341"/>
                  </a:lnTo>
                  <a:lnTo>
                    <a:pt x="4528" y="127"/>
                  </a:lnTo>
                  <a:lnTo>
                    <a:pt x="4528" y="341"/>
                  </a:lnTo>
                  <a:lnTo>
                    <a:pt x="4460" y="341"/>
                  </a:lnTo>
                  <a:close/>
                  <a:moveTo>
                    <a:pt x="4842" y="280"/>
                  </a:moveTo>
                  <a:lnTo>
                    <a:pt x="4874" y="280"/>
                  </a:lnTo>
                  <a:cubicBezTo>
                    <a:pt x="4899" y="280"/>
                    <a:pt x="4918" y="274"/>
                    <a:pt x="4929" y="262"/>
                  </a:cubicBezTo>
                  <a:cubicBezTo>
                    <a:pt x="4947" y="243"/>
                    <a:pt x="4956" y="213"/>
                    <a:pt x="4956" y="173"/>
                  </a:cubicBezTo>
                  <a:cubicBezTo>
                    <a:pt x="4956" y="139"/>
                    <a:pt x="4948" y="113"/>
                    <a:pt x="4933" y="94"/>
                  </a:cubicBezTo>
                  <a:cubicBezTo>
                    <a:pt x="4920" y="77"/>
                    <a:pt x="4900" y="69"/>
                    <a:pt x="4872" y="69"/>
                  </a:cubicBezTo>
                  <a:lnTo>
                    <a:pt x="4842" y="69"/>
                  </a:lnTo>
                  <a:lnTo>
                    <a:pt x="4842" y="280"/>
                  </a:lnTo>
                  <a:close/>
                  <a:moveTo>
                    <a:pt x="4770" y="341"/>
                  </a:moveTo>
                  <a:lnTo>
                    <a:pt x="4770" y="8"/>
                  </a:lnTo>
                  <a:lnTo>
                    <a:pt x="4873" y="8"/>
                  </a:lnTo>
                  <a:cubicBezTo>
                    <a:pt x="4918" y="8"/>
                    <a:pt x="4954" y="20"/>
                    <a:pt x="4980" y="44"/>
                  </a:cubicBezTo>
                  <a:cubicBezTo>
                    <a:pt x="5011" y="73"/>
                    <a:pt x="5027" y="116"/>
                    <a:pt x="5027" y="174"/>
                  </a:cubicBezTo>
                  <a:cubicBezTo>
                    <a:pt x="5027" y="229"/>
                    <a:pt x="5012" y="272"/>
                    <a:pt x="4982" y="302"/>
                  </a:cubicBezTo>
                  <a:cubicBezTo>
                    <a:pt x="4966" y="319"/>
                    <a:pt x="4947" y="330"/>
                    <a:pt x="4926" y="335"/>
                  </a:cubicBezTo>
                  <a:cubicBezTo>
                    <a:pt x="4911" y="339"/>
                    <a:pt x="4893" y="341"/>
                    <a:pt x="4873" y="341"/>
                  </a:cubicBezTo>
                  <a:lnTo>
                    <a:pt x="4770" y="341"/>
                  </a:lnTo>
                  <a:close/>
                  <a:moveTo>
                    <a:pt x="5078" y="341"/>
                  </a:moveTo>
                  <a:lnTo>
                    <a:pt x="5078" y="8"/>
                  </a:lnTo>
                  <a:lnTo>
                    <a:pt x="5291" y="8"/>
                  </a:lnTo>
                  <a:lnTo>
                    <a:pt x="5291" y="69"/>
                  </a:lnTo>
                  <a:lnTo>
                    <a:pt x="5150" y="69"/>
                  </a:lnTo>
                  <a:lnTo>
                    <a:pt x="5150" y="140"/>
                  </a:lnTo>
                  <a:lnTo>
                    <a:pt x="5278" y="140"/>
                  </a:lnTo>
                  <a:lnTo>
                    <a:pt x="5278" y="198"/>
                  </a:lnTo>
                  <a:lnTo>
                    <a:pt x="5150" y="198"/>
                  </a:lnTo>
                  <a:lnTo>
                    <a:pt x="5150" y="280"/>
                  </a:lnTo>
                  <a:lnTo>
                    <a:pt x="5294" y="280"/>
                  </a:lnTo>
                  <a:lnTo>
                    <a:pt x="5294" y="341"/>
                  </a:lnTo>
                  <a:lnTo>
                    <a:pt x="5078" y="341"/>
                  </a:lnTo>
                  <a:close/>
                  <a:moveTo>
                    <a:pt x="5410" y="341"/>
                  </a:moveTo>
                  <a:lnTo>
                    <a:pt x="5410" y="69"/>
                  </a:lnTo>
                  <a:lnTo>
                    <a:pt x="5329" y="69"/>
                  </a:lnTo>
                  <a:lnTo>
                    <a:pt x="5329" y="8"/>
                  </a:lnTo>
                  <a:lnTo>
                    <a:pt x="5563" y="8"/>
                  </a:lnTo>
                  <a:lnTo>
                    <a:pt x="5563" y="69"/>
                  </a:lnTo>
                  <a:lnTo>
                    <a:pt x="5481" y="69"/>
                  </a:lnTo>
                  <a:lnTo>
                    <a:pt x="5481" y="341"/>
                  </a:lnTo>
                  <a:lnTo>
                    <a:pt x="5410" y="341"/>
                  </a:lnTo>
                  <a:close/>
                  <a:moveTo>
                    <a:pt x="5644" y="269"/>
                  </a:moveTo>
                  <a:lnTo>
                    <a:pt x="5644" y="341"/>
                  </a:lnTo>
                  <a:lnTo>
                    <a:pt x="5571" y="341"/>
                  </a:lnTo>
                  <a:lnTo>
                    <a:pt x="5571" y="269"/>
                  </a:lnTo>
                  <a:lnTo>
                    <a:pt x="5644" y="269"/>
                  </a:lnTo>
                  <a:close/>
                </a:path>
              </a:pathLst>
            </a:custGeom>
            <a:solidFill>
              <a:srgbClr val="E20074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de-DE">
                <a:latin typeface="+mn-lt"/>
              </a:endParaRPr>
            </a:p>
          </p:txBody>
        </p:sp>
        <p:sp>
          <p:nvSpPr>
            <p:cNvPr id="34" name="Freeform 5"/>
            <p:cNvSpPr>
              <a:spLocks noChangeAspect="1" noEditPoints="1"/>
            </p:cNvSpPr>
            <p:nvPr userDrawn="1"/>
          </p:nvSpPr>
          <p:spPr bwMode="black">
            <a:xfrm>
              <a:off x="321317" y="6153149"/>
              <a:ext cx="760793" cy="371475"/>
            </a:xfrm>
            <a:custGeom>
              <a:avLst/>
              <a:gdLst/>
              <a:ahLst/>
              <a:cxnLst>
                <a:cxn ang="0">
                  <a:pos x="1" y="604"/>
                </a:cxn>
                <a:cxn ang="0">
                  <a:pos x="274" y="604"/>
                </a:cxn>
                <a:cxn ang="0">
                  <a:pos x="274" y="871"/>
                </a:cxn>
                <a:cxn ang="0">
                  <a:pos x="1" y="871"/>
                </a:cxn>
                <a:cxn ang="0">
                  <a:pos x="1" y="604"/>
                </a:cxn>
                <a:cxn ang="0">
                  <a:pos x="650" y="1032"/>
                </a:cxn>
                <a:cxn ang="0">
                  <a:pos x="688" y="1197"/>
                </a:cxn>
                <a:cxn ang="0">
                  <a:pos x="797" y="1237"/>
                </a:cxn>
                <a:cxn ang="0">
                  <a:pos x="875" y="1238"/>
                </a:cxn>
                <a:cxn ang="0">
                  <a:pos x="875" y="1313"/>
                </a:cxn>
                <a:cxn ang="0">
                  <a:pos x="219" y="1313"/>
                </a:cxn>
                <a:cxn ang="0">
                  <a:pos x="219" y="1238"/>
                </a:cxn>
                <a:cxn ang="0">
                  <a:pos x="335" y="1231"/>
                </a:cxn>
                <a:cxn ang="0">
                  <a:pos x="431" y="1144"/>
                </a:cxn>
                <a:cxn ang="0">
                  <a:pos x="442" y="1032"/>
                </a:cxn>
                <a:cxn ang="0">
                  <a:pos x="442" y="63"/>
                </a:cxn>
                <a:cxn ang="0">
                  <a:pos x="180" y="171"/>
                </a:cxn>
                <a:cxn ang="0">
                  <a:pos x="71" y="475"/>
                </a:cxn>
                <a:cxn ang="0">
                  <a:pos x="0" y="463"/>
                </a:cxn>
                <a:cxn ang="0">
                  <a:pos x="13" y="0"/>
                </a:cxn>
                <a:cxn ang="0">
                  <a:pos x="1081" y="0"/>
                </a:cxn>
                <a:cxn ang="0">
                  <a:pos x="1094" y="463"/>
                </a:cxn>
                <a:cxn ang="0">
                  <a:pos x="1023" y="475"/>
                </a:cxn>
                <a:cxn ang="0">
                  <a:pos x="913" y="171"/>
                </a:cxn>
                <a:cxn ang="0">
                  <a:pos x="650" y="63"/>
                </a:cxn>
                <a:cxn ang="0">
                  <a:pos x="650" y="1032"/>
                </a:cxn>
                <a:cxn ang="0">
                  <a:pos x="824" y="604"/>
                </a:cxn>
                <a:cxn ang="0">
                  <a:pos x="1096" y="604"/>
                </a:cxn>
                <a:cxn ang="0">
                  <a:pos x="1096" y="871"/>
                </a:cxn>
                <a:cxn ang="0">
                  <a:pos x="824" y="871"/>
                </a:cxn>
                <a:cxn ang="0">
                  <a:pos x="824" y="604"/>
                </a:cxn>
                <a:cxn ang="0">
                  <a:pos x="1641" y="604"/>
                </a:cxn>
                <a:cxn ang="0">
                  <a:pos x="1914" y="604"/>
                </a:cxn>
                <a:cxn ang="0">
                  <a:pos x="1914" y="871"/>
                </a:cxn>
                <a:cxn ang="0">
                  <a:pos x="1641" y="871"/>
                </a:cxn>
                <a:cxn ang="0">
                  <a:pos x="1641" y="604"/>
                </a:cxn>
                <a:cxn ang="0">
                  <a:pos x="2459" y="604"/>
                </a:cxn>
                <a:cxn ang="0">
                  <a:pos x="2731" y="604"/>
                </a:cxn>
                <a:cxn ang="0">
                  <a:pos x="2731" y="871"/>
                </a:cxn>
                <a:cxn ang="0">
                  <a:pos x="2459" y="871"/>
                </a:cxn>
                <a:cxn ang="0">
                  <a:pos x="2459" y="604"/>
                </a:cxn>
              </a:cxnLst>
              <a:rect l="0" t="0" r="r" b="b"/>
              <a:pathLst>
                <a:path w="2731" h="1313">
                  <a:moveTo>
                    <a:pt x="1" y="604"/>
                  </a:moveTo>
                  <a:lnTo>
                    <a:pt x="274" y="604"/>
                  </a:lnTo>
                  <a:lnTo>
                    <a:pt x="274" y="871"/>
                  </a:lnTo>
                  <a:lnTo>
                    <a:pt x="1" y="871"/>
                  </a:lnTo>
                  <a:lnTo>
                    <a:pt x="1" y="604"/>
                  </a:lnTo>
                  <a:close/>
                  <a:moveTo>
                    <a:pt x="650" y="1032"/>
                  </a:moveTo>
                  <a:cubicBezTo>
                    <a:pt x="650" y="1117"/>
                    <a:pt x="663" y="1171"/>
                    <a:pt x="688" y="1197"/>
                  </a:cubicBezTo>
                  <a:cubicBezTo>
                    <a:pt x="710" y="1218"/>
                    <a:pt x="746" y="1232"/>
                    <a:pt x="797" y="1237"/>
                  </a:cubicBezTo>
                  <a:cubicBezTo>
                    <a:pt x="813" y="1238"/>
                    <a:pt x="838" y="1238"/>
                    <a:pt x="875" y="1238"/>
                  </a:cubicBezTo>
                  <a:lnTo>
                    <a:pt x="875" y="1313"/>
                  </a:lnTo>
                  <a:lnTo>
                    <a:pt x="219" y="1313"/>
                  </a:lnTo>
                  <a:lnTo>
                    <a:pt x="219" y="1238"/>
                  </a:lnTo>
                  <a:cubicBezTo>
                    <a:pt x="271" y="1238"/>
                    <a:pt x="310" y="1236"/>
                    <a:pt x="335" y="1231"/>
                  </a:cubicBezTo>
                  <a:cubicBezTo>
                    <a:pt x="386" y="1221"/>
                    <a:pt x="418" y="1192"/>
                    <a:pt x="431" y="1144"/>
                  </a:cubicBezTo>
                  <a:cubicBezTo>
                    <a:pt x="438" y="1119"/>
                    <a:pt x="442" y="1082"/>
                    <a:pt x="442" y="1032"/>
                  </a:cubicBezTo>
                  <a:lnTo>
                    <a:pt x="442" y="63"/>
                  </a:lnTo>
                  <a:cubicBezTo>
                    <a:pt x="330" y="66"/>
                    <a:pt x="243" y="102"/>
                    <a:pt x="180" y="171"/>
                  </a:cubicBezTo>
                  <a:cubicBezTo>
                    <a:pt x="121" y="238"/>
                    <a:pt x="84" y="339"/>
                    <a:pt x="71" y="475"/>
                  </a:cubicBezTo>
                  <a:lnTo>
                    <a:pt x="0" y="463"/>
                  </a:lnTo>
                  <a:lnTo>
                    <a:pt x="13" y="0"/>
                  </a:lnTo>
                  <a:lnTo>
                    <a:pt x="1081" y="0"/>
                  </a:lnTo>
                  <a:lnTo>
                    <a:pt x="1094" y="463"/>
                  </a:lnTo>
                  <a:lnTo>
                    <a:pt x="1023" y="475"/>
                  </a:lnTo>
                  <a:cubicBezTo>
                    <a:pt x="1010" y="339"/>
                    <a:pt x="973" y="238"/>
                    <a:pt x="913" y="171"/>
                  </a:cubicBezTo>
                  <a:cubicBezTo>
                    <a:pt x="850" y="102"/>
                    <a:pt x="762" y="66"/>
                    <a:pt x="650" y="63"/>
                  </a:cubicBezTo>
                  <a:lnTo>
                    <a:pt x="650" y="1032"/>
                  </a:lnTo>
                  <a:close/>
                  <a:moveTo>
                    <a:pt x="824" y="604"/>
                  </a:moveTo>
                  <a:lnTo>
                    <a:pt x="1096" y="604"/>
                  </a:lnTo>
                  <a:lnTo>
                    <a:pt x="1096" y="871"/>
                  </a:lnTo>
                  <a:lnTo>
                    <a:pt x="824" y="871"/>
                  </a:lnTo>
                  <a:lnTo>
                    <a:pt x="824" y="604"/>
                  </a:lnTo>
                  <a:close/>
                  <a:moveTo>
                    <a:pt x="1641" y="604"/>
                  </a:moveTo>
                  <a:lnTo>
                    <a:pt x="1914" y="604"/>
                  </a:lnTo>
                  <a:lnTo>
                    <a:pt x="1914" y="871"/>
                  </a:lnTo>
                  <a:lnTo>
                    <a:pt x="1641" y="871"/>
                  </a:lnTo>
                  <a:lnTo>
                    <a:pt x="1641" y="604"/>
                  </a:lnTo>
                  <a:close/>
                  <a:moveTo>
                    <a:pt x="2459" y="604"/>
                  </a:moveTo>
                  <a:lnTo>
                    <a:pt x="2731" y="604"/>
                  </a:lnTo>
                  <a:lnTo>
                    <a:pt x="2731" y="871"/>
                  </a:lnTo>
                  <a:lnTo>
                    <a:pt x="2459" y="871"/>
                  </a:lnTo>
                  <a:lnTo>
                    <a:pt x="2459" y="604"/>
                  </a:lnTo>
                  <a:close/>
                </a:path>
              </a:pathLst>
            </a:custGeom>
            <a:solidFill>
              <a:srgbClr val="E20074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de-DE">
                <a:latin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594562400"/>
      </p:ext>
    </p:extLst>
  </p:cSld>
  <p:clrMap bg1="lt1" tx1="dk1" bg2="lt2" tx2="dk2" accent1="accent1" accent2="accent2" accent3="accent3" accent4="accent4" accent5="accent5" accent6="accent6" hlink="hlink" folHlink="folHlink"/>
  <p:hf hdr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 bwMode="gray">
          <a:xfrm>
            <a:off x="477838" y="1012825"/>
            <a:ext cx="6113462" cy="4586288"/>
          </a:xfrm>
          <a:prstGeom prst="rect">
            <a:avLst/>
          </a:prstGeom>
          <a:noFill/>
          <a:ln w="3175">
            <a:solidFill>
              <a:schemeClr val="tx1"/>
            </a:solidFill>
          </a:ln>
        </p:spPr>
        <p:txBody>
          <a:bodyPr vert="horz" lIns="99048" tIns="49524" rIns="99048" bIns="49524" rtlCol="0" anchor="ctr"/>
          <a:lstStyle/>
          <a:p>
            <a:pPr lvl="0"/>
            <a:endParaRPr lang="de-DE" noProof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 bwMode="gray">
          <a:xfrm>
            <a:off x="482600" y="5765800"/>
            <a:ext cx="6127750" cy="3743325"/>
          </a:xfrm>
          <a:prstGeom prst="rect">
            <a:avLst/>
          </a:prstGeom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smtClean="0"/>
              <a:t>Mastertext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</a:p>
        </p:txBody>
      </p:sp>
      <p:sp>
        <p:nvSpPr>
          <p:cNvPr id="8" name="Datumsplatzhalter 2"/>
          <p:cNvSpPr>
            <a:spLocks noGrp="1"/>
          </p:cNvSpPr>
          <p:nvPr>
            <p:ph type="dt" sz="quarter" idx="1"/>
          </p:nvPr>
        </p:nvSpPr>
        <p:spPr bwMode="gray">
          <a:xfrm>
            <a:off x="5070475" y="9647238"/>
            <a:ext cx="1150938" cy="288925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ctr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200">
                <a:latin typeface="Tele-GroteskNor" pitchFamily="2" charset="0"/>
              </a:defRPr>
            </a:lvl1pPr>
          </a:lstStyle>
          <a:p>
            <a:fld id="{D8F93F7F-962B-4F21-9AE5-E20B46B04728}" type="datetimeFigureOut">
              <a:rPr lang="de-DE"/>
              <a:pPr/>
              <a:t>11.06.17</a:t>
            </a:fld>
            <a:endParaRPr lang="de-DE"/>
          </a:p>
        </p:txBody>
      </p:sp>
      <p:sp>
        <p:nvSpPr>
          <p:cNvPr id="9" name="Fußzeilenplatzhalter 3"/>
          <p:cNvSpPr>
            <a:spLocks noGrp="1"/>
          </p:cNvSpPr>
          <p:nvPr>
            <p:ph type="ftr" sz="quarter" idx="4"/>
          </p:nvPr>
        </p:nvSpPr>
        <p:spPr bwMode="gray">
          <a:xfrm>
            <a:off x="492125" y="9647238"/>
            <a:ext cx="4679950" cy="288925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200">
                <a:latin typeface="Tele-GroteskNor" pitchFamily="2" charset="0"/>
              </a:defRPr>
            </a:lvl1pPr>
          </a:lstStyle>
          <a:p>
            <a:r>
              <a:rPr lang="de-DE"/>
              <a:t>– Streng vertraulich, Vertraulich, Intern – Autor / Thema der Präsentation</a:t>
            </a:r>
          </a:p>
        </p:txBody>
      </p:sp>
      <p:sp>
        <p:nvSpPr>
          <p:cNvPr id="10" name="Foliennummernplatzhalter 4"/>
          <p:cNvSpPr>
            <a:spLocks noGrp="1"/>
          </p:cNvSpPr>
          <p:nvPr>
            <p:ph type="sldNum" sz="quarter" idx="5"/>
          </p:nvPr>
        </p:nvSpPr>
        <p:spPr bwMode="gray">
          <a:xfrm>
            <a:off x="6364288" y="9647238"/>
            <a:ext cx="490537" cy="288925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1200" smtClean="0">
                <a:solidFill>
                  <a:schemeClr val="tx1"/>
                </a:solidFill>
                <a:latin typeface="+mn-lt"/>
              </a:defRPr>
            </a:lvl1pPr>
          </a:lstStyle>
          <a:p>
            <a:pPr>
              <a:defRPr/>
            </a:pPr>
            <a:fld id="{35FB5E73-64F8-4318-A630-D2C50FB79A4B}" type="slidenum">
              <a:rPr lang="de-DE"/>
              <a:pPr>
                <a:defRPr/>
              </a:pPr>
              <a:t>‹Nr.›</a:t>
            </a:fld>
            <a:endParaRPr lang="de-DE" dirty="0"/>
          </a:p>
        </p:txBody>
      </p:sp>
      <p:grpSp>
        <p:nvGrpSpPr>
          <p:cNvPr id="26631" name="Gruppieren 37"/>
          <p:cNvGrpSpPr>
            <a:grpSpLocks noChangeAspect="1"/>
          </p:cNvGrpSpPr>
          <p:nvPr/>
        </p:nvGrpSpPr>
        <p:grpSpPr bwMode="black">
          <a:xfrm>
            <a:off x="490538" y="169863"/>
            <a:ext cx="6118225" cy="266700"/>
            <a:chOff x="321317" y="6153149"/>
            <a:chExt cx="8498833" cy="371475"/>
          </a:xfrm>
        </p:grpSpPr>
        <p:sp>
          <p:nvSpPr>
            <p:cNvPr id="39" name="Freeform 9"/>
            <p:cNvSpPr>
              <a:spLocks noChangeAspect="1" noEditPoints="1"/>
            </p:cNvSpPr>
            <p:nvPr userDrawn="1"/>
          </p:nvSpPr>
          <p:spPr bwMode="black">
            <a:xfrm>
              <a:off x="7307384" y="6310141"/>
              <a:ext cx="1512766" cy="121615"/>
            </a:xfrm>
            <a:custGeom>
              <a:avLst/>
              <a:gdLst/>
              <a:ahLst/>
              <a:cxnLst>
                <a:cxn ang="0">
                  <a:pos x="72" y="69"/>
                </a:cxn>
                <a:cxn ang="0">
                  <a:pos x="72" y="280"/>
                </a:cxn>
                <a:cxn ang="0">
                  <a:pos x="383" y="156"/>
                </a:cxn>
                <a:cxn ang="0">
                  <a:pos x="344" y="64"/>
                </a:cxn>
                <a:cxn ang="0">
                  <a:pos x="478" y="30"/>
                </a:cxn>
                <a:cxn ang="0">
                  <a:pos x="504" y="243"/>
                </a:cxn>
                <a:cxn ang="0">
                  <a:pos x="441" y="322"/>
                </a:cxn>
                <a:cxn ang="0">
                  <a:pos x="344" y="210"/>
                </a:cxn>
                <a:cxn ang="0">
                  <a:pos x="645" y="8"/>
                </a:cxn>
                <a:cxn ang="0">
                  <a:pos x="818" y="341"/>
                </a:cxn>
                <a:cxn ang="0">
                  <a:pos x="890" y="140"/>
                </a:cxn>
                <a:cxn ang="0">
                  <a:pos x="1034" y="280"/>
                </a:cxn>
                <a:cxn ang="0">
                  <a:pos x="1243" y="274"/>
                </a:cxn>
                <a:cxn ang="0">
                  <a:pos x="1162" y="284"/>
                </a:cxn>
                <a:cxn ang="0">
                  <a:pos x="1228" y="70"/>
                </a:cxn>
                <a:cxn ang="0">
                  <a:pos x="1091" y="8"/>
                </a:cxn>
                <a:cxn ang="0">
                  <a:pos x="1269" y="160"/>
                </a:cxn>
                <a:cxn ang="0">
                  <a:pos x="1382" y="341"/>
                </a:cxn>
                <a:cxn ang="0">
                  <a:pos x="1454" y="140"/>
                </a:cxn>
                <a:cxn ang="0">
                  <a:pos x="1598" y="280"/>
                </a:cxn>
                <a:cxn ang="0">
                  <a:pos x="1727" y="8"/>
                </a:cxn>
                <a:cxn ang="0">
                  <a:pos x="1828" y="341"/>
                </a:cxn>
                <a:cxn ang="0">
                  <a:pos x="2030" y="325"/>
                </a:cxn>
                <a:cxn ang="0">
                  <a:pos x="1980" y="367"/>
                </a:cxn>
                <a:cxn ang="0">
                  <a:pos x="2153" y="8"/>
                </a:cxn>
                <a:cxn ang="0">
                  <a:pos x="2418" y="236"/>
                </a:cxn>
                <a:cxn ang="0">
                  <a:pos x="2341" y="114"/>
                </a:cxn>
                <a:cxn ang="0">
                  <a:pos x="2698" y="212"/>
                </a:cxn>
                <a:cxn ang="0">
                  <a:pos x="2808" y="341"/>
                </a:cxn>
                <a:cxn ang="0">
                  <a:pos x="2524" y="341"/>
                </a:cxn>
                <a:cxn ang="0">
                  <a:pos x="2941" y="292"/>
                </a:cxn>
                <a:cxn ang="0">
                  <a:pos x="2924" y="197"/>
                </a:cxn>
                <a:cxn ang="0">
                  <a:pos x="3026" y="43"/>
                </a:cxn>
                <a:cxn ang="0">
                  <a:pos x="2905" y="65"/>
                </a:cxn>
                <a:cxn ang="0">
                  <a:pos x="3058" y="246"/>
                </a:cxn>
                <a:cxn ang="0">
                  <a:pos x="3331" y="341"/>
                </a:cxn>
                <a:cxn ang="0">
                  <a:pos x="3350" y="8"/>
                </a:cxn>
                <a:cxn ang="0">
                  <a:pos x="3672" y="8"/>
                </a:cxn>
                <a:cxn ang="0">
                  <a:pos x="3659" y="198"/>
                </a:cxn>
                <a:cxn ang="0">
                  <a:pos x="3459" y="341"/>
                </a:cxn>
                <a:cxn ang="0">
                  <a:pos x="3880" y="71"/>
                </a:cxn>
                <a:cxn ang="0">
                  <a:pos x="3732" y="8"/>
                </a:cxn>
                <a:cxn ang="0">
                  <a:pos x="3921" y="183"/>
                </a:cxn>
                <a:cxn ang="0">
                  <a:pos x="3979" y="341"/>
                </a:cxn>
                <a:cxn ang="0">
                  <a:pos x="3866" y="212"/>
                </a:cxn>
                <a:cxn ang="0">
                  <a:pos x="4103" y="284"/>
                </a:cxn>
                <a:cxn ang="0">
                  <a:pos x="4139" y="192"/>
                </a:cxn>
                <a:cxn ang="0">
                  <a:pos x="4173" y="134"/>
                </a:cxn>
                <a:cxn ang="0">
                  <a:pos x="4103" y="142"/>
                </a:cxn>
                <a:cxn ang="0">
                  <a:pos x="4247" y="46"/>
                </a:cxn>
                <a:cxn ang="0">
                  <a:pos x="4162" y="341"/>
                </a:cxn>
                <a:cxn ang="0">
                  <a:pos x="4395" y="341"/>
                </a:cxn>
                <a:cxn ang="0">
                  <a:pos x="4637" y="222"/>
                </a:cxn>
                <a:cxn ang="0">
                  <a:pos x="4528" y="127"/>
                </a:cxn>
                <a:cxn ang="0">
                  <a:pos x="4929" y="262"/>
                </a:cxn>
                <a:cxn ang="0">
                  <a:pos x="4842" y="280"/>
                </a:cxn>
                <a:cxn ang="0">
                  <a:pos x="5027" y="174"/>
                </a:cxn>
                <a:cxn ang="0">
                  <a:pos x="5078" y="341"/>
                </a:cxn>
                <a:cxn ang="0">
                  <a:pos x="5150" y="140"/>
                </a:cxn>
                <a:cxn ang="0">
                  <a:pos x="5294" y="280"/>
                </a:cxn>
                <a:cxn ang="0">
                  <a:pos x="5329" y="69"/>
                </a:cxn>
                <a:cxn ang="0">
                  <a:pos x="5481" y="341"/>
                </a:cxn>
                <a:cxn ang="0">
                  <a:pos x="5571" y="269"/>
                </a:cxn>
              </a:cxnLst>
              <a:rect l="0" t="0" r="r" b="b"/>
              <a:pathLst>
                <a:path w="5644" h="419">
                  <a:moveTo>
                    <a:pt x="0" y="341"/>
                  </a:moveTo>
                  <a:lnTo>
                    <a:pt x="0" y="8"/>
                  </a:lnTo>
                  <a:lnTo>
                    <a:pt x="213" y="8"/>
                  </a:lnTo>
                  <a:lnTo>
                    <a:pt x="213" y="69"/>
                  </a:lnTo>
                  <a:lnTo>
                    <a:pt x="72" y="69"/>
                  </a:lnTo>
                  <a:lnTo>
                    <a:pt x="72" y="140"/>
                  </a:lnTo>
                  <a:lnTo>
                    <a:pt x="200" y="140"/>
                  </a:lnTo>
                  <a:lnTo>
                    <a:pt x="200" y="198"/>
                  </a:lnTo>
                  <a:lnTo>
                    <a:pt x="72" y="198"/>
                  </a:lnTo>
                  <a:lnTo>
                    <a:pt x="72" y="280"/>
                  </a:lnTo>
                  <a:lnTo>
                    <a:pt x="216" y="280"/>
                  </a:lnTo>
                  <a:lnTo>
                    <a:pt x="216" y="341"/>
                  </a:lnTo>
                  <a:lnTo>
                    <a:pt x="0" y="341"/>
                  </a:lnTo>
                  <a:close/>
                  <a:moveTo>
                    <a:pt x="344" y="156"/>
                  </a:moveTo>
                  <a:lnTo>
                    <a:pt x="383" y="156"/>
                  </a:lnTo>
                  <a:cubicBezTo>
                    <a:pt x="405" y="156"/>
                    <a:pt x="420" y="151"/>
                    <a:pt x="428" y="142"/>
                  </a:cubicBezTo>
                  <a:cubicBezTo>
                    <a:pt x="435" y="134"/>
                    <a:pt x="438" y="123"/>
                    <a:pt x="438" y="109"/>
                  </a:cubicBezTo>
                  <a:cubicBezTo>
                    <a:pt x="438" y="92"/>
                    <a:pt x="433" y="79"/>
                    <a:pt x="421" y="71"/>
                  </a:cubicBezTo>
                  <a:cubicBezTo>
                    <a:pt x="414" y="67"/>
                    <a:pt x="402" y="64"/>
                    <a:pt x="385" y="64"/>
                  </a:cubicBezTo>
                  <a:lnTo>
                    <a:pt x="344" y="64"/>
                  </a:lnTo>
                  <a:lnTo>
                    <a:pt x="344" y="156"/>
                  </a:lnTo>
                  <a:close/>
                  <a:moveTo>
                    <a:pt x="273" y="341"/>
                  </a:moveTo>
                  <a:lnTo>
                    <a:pt x="273" y="8"/>
                  </a:lnTo>
                  <a:lnTo>
                    <a:pt x="401" y="8"/>
                  </a:lnTo>
                  <a:cubicBezTo>
                    <a:pt x="434" y="8"/>
                    <a:pt x="460" y="15"/>
                    <a:pt x="478" y="30"/>
                  </a:cubicBezTo>
                  <a:cubicBezTo>
                    <a:pt x="500" y="46"/>
                    <a:pt x="510" y="70"/>
                    <a:pt x="510" y="101"/>
                  </a:cubicBezTo>
                  <a:cubicBezTo>
                    <a:pt x="510" y="126"/>
                    <a:pt x="503" y="147"/>
                    <a:pt x="488" y="164"/>
                  </a:cubicBezTo>
                  <a:cubicBezTo>
                    <a:pt x="481" y="172"/>
                    <a:pt x="473" y="178"/>
                    <a:pt x="462" y="183"/>
                  </a:cubicBezTo>
                  <a:cubicBezTo>
                    <a:pt x="476" y="187"/>
                    <a:pt x="486" y="196"/>
                    <a:pt x="494" y="209"/>
                  </a:cubicBezTo>
                  <a:cubicBezTo>
                    <a:pt x="498" y="216"/>
                    <a:pt x="502" y="228"/>
                    <a:pt x="504" y="243"/>
                  </a:cubicBezTo>
                  <a:cubicBezTo>
                    <a:pt x="505" y="249"/>
                    <a:pt x="507" y="265"/>
                    <a:pt x="508" y="293"/>
                  </a:cubicBezTo>
                  <a:cubicBezTo>
                    <a:pt x="510" y="311"/>
                    <a:pt x="512" y="322"/>
                    <a:pt x="514" y="328"/>
                  </a:cubicBezTo>
                  <a:cubicBezTo>
                    <a:pt x="515" y="332"/>
                    <a:pt x="517" y="336"/>
                    <a:pt x="520" y="341"/>
                  </a:cubicBezTo>
                  <a:lnTo>
                    <a:pt x="446" y="341"/>
                  </a:lnTo>
                  <a:cubicBezTo>
                    <a:pt x="444" y="335"/>
                    <a:pt x="442" y="329"/>
                    <a:pt x="441" y="322"/>
                  </a:cubicBezTo>
                  <a:cubicBezTo>
                    <a:pt x="441" y="318"/>
                    <a:pt x="440" y="303"/>
                    <a:pt x="438" y="279"/>
                  </a:cubicBezTo>
                  <a:cubicBezTo>
                    <a:pt x="436" y="256"/>
                    <a:pt x="433" y="240"/>
                    <a:pt x="429" y="233"/>
                  </a:cubicBezTo>
                  <a:cubicBezTo>
                    <a:pt x="424" y="222"/>
                    <a:pt x="417" y="215"/>
                    <a:pt x="407" y="212"/>
                  </a:cubicBezTo>
                  <a:cubicBezTo>
                    <a:pt x="402" y="211"/>
                    <a:pt x="394" y="210"/>
                    <a:pt x="385" y="210"/>
                  </a:cubicBezTo>
                  <a:lnTo>
                    <a:pt x="344" y="210"/>
                  </a:lnTo>
                  <a:lnTo>
                    <a:pt x="344" y="341"/>
                  </a:lnTo>
                  <a:lnTo>
                    <a:pt x="273" y="341"/>
                  </a:lnTo>
                  <a:close/>
                  <a:moveTo>
                    <a:pt x="573" y="341"/>
                  </a:moveTo>
                  <a:lnTo>
                    <a:pt x="573" y="8"/>
                  </a:lnTo>
                  <a:lnTo>
                    <a:pt x="645" y="8"/>
                  </a:lnTo>
                  <a:lnTo>
                    <a:pt x="645" y="279"/>
                  </a:lnTo>
                  <a:lnTo>
                    <a:pt x="775" y="279"/>
                  </a:lnTo>
                  <a:lnTo>
                    <a:pt x="775" y="341"/>
                  </a:lnTo>
                  <a:lnTo>
                    <a:pt x="573" y="341"/>
                  </a:lnTo>
                  <a:close/>
                  <a:moveTo>
                    <a:pt x="818" y="341"/>
                  </a:moveTo>
                  <a:lnTo>
                    <a:pt x="818" y="8"/>
                  </a:lnTo>
                  <a:lnTo>
                    <a:pt x="1031" y="8"/>
                  </a:lnTo>
                  <a:lnTo>
                    <a:pt x="1031" y="69"/>
                  </a:lnTo>
                  <a:lnTo>
                    <a:pt x="890" y="69"/>
                  </a:lnTo>
                  <a:lnTo>
                    <a:pt x="890" y="140"/>
                  </a:lnTo>
                  <a:lnTo>
                    <a:pt x="1018" y="140"/>
                  </a:lnTo>
                  <a:lnTo>
                    <a:pt x="1018" y="198"/>
                  </a:lnTo>
                  <a:lnTo>
                    <a:pt x="890" y="198"/>
                  </a:lnTo>
                  <a:lnTo>
                    <a:pt x="890" y="280"/>
                  </a:lnTo>
                  <a:lnTo>
                    <a:pt x="1034" y="280"/>
                  </a:lnTo>
                  <a:lnTo>
                    <a:pt x="1034" y="341"/>
                  </a:lnTo>
                  <a:lnTo>
                    <a:pt x="818" y="341"/>
                  </a:lnTo>
                  <a:close/>
                  <a:moveTo>
                    <a:pt x="1162" y="284"/>
                  </a:moveTo>
                  <a:lnTo>
                    <a:pt x="1201" y="284"/>
                  </a:lnTo>
                  <a:cubicBezTo>
                    <a:pt x="1221" y="284"/>
                    <a:pt x="1235" y="280"/>
                    <a:pt x="1243" y="274"/>
                  </a:cubicBezTo>
                  <a:cubicBezTo>
                    <a:pt x="1253" y="265"/>
                    <a:pt x="1259" y="253"/>
                    <a:pt x="1259" y="238"/>
                  </a:cubicBezTo>
                  <a:cubicBezTo>
                    <a:pt x="1259" y="219"/>
                    <a:pt x="1252" y="206"/>
                    <a:pt x="1238" y="199"/>
                  </a:cubicBezTo>
                  <a:cubicBezTo>
                    <a:pt x="1230" y="194"/>
                    <a:pt x="1216" y="192"/>
                    <a:pt x="1198" y="192"/>
                  </a:cubicBezTo>
                  <a:lnTo>
                    <a:pt x="1162" y="192"/>
                  </a:lnTo>
                  <a:lnTo>
                    <a:pt x="1162" y="284"/>
                  </a:lnTo>
                  <a:close/>
                  <a:moveTo>
                    <a:pt x="1162" y="142"/>
                  </a:moveTo>
                  <a:lnTo>
                    <a:pt x="1194" y="142"/>
                  </a:lnTo>
                  <a:cubicBezTo>
                    <a:pt x="1212" y="142"/>
                    <a:pt x="1224" y="140"/>
                    <a:pt x="1232" y="134"/>
                  </a:cubicBezTo>
                  <a:cubicBezTo>
                    <a:pt x="1242" y="127"/>
                    <a:pt x="1247" y="116"/>
                    <a:pt x="1247" y="102"/>
                  </a:cubicBezTo>
                  <a:cubicBezTo>
                    <a:pt x="1247" y="87"/>
                    <a:pt x="1241" y="76"/>
                    <a:pt x="1228" y="70"/>
                  </a:cubicBezTo>
                  <a:cubicBezTo>
                    <a:pt x="1222" y="66"/>
                    <a:pt x="1210" y="64"/>
                    <a:pt x="1194" y="64"/>
                  </a:cubicBezTo>
                  <a:lnTo>
                    <a:pt x="1162" y="64"/>
                  </a:lnTo>
                  <a:lnTo>
                    <a:pt x="1162" y="142"/>
                  </a:lnTo>
                  <a:close/>
                  <a:moveTo>
                    <a:pt x="1091" y="341"/>
                  </a:moveTo>
                  <a:lnTo>
                    <a:pt x="1091" y="8"/>
                  </a:lnTo>
                  <a:lnTo>
                    <a:pt x="1209" y="8"/>
                  </a:lnTo>
                  <a:cubicBezTo>
                    <a:pt x="1233" y="8"/>
                    <a:pt x="1251" y="10"/>
                    <a:pt x="1264" y="14"/>
                  </a:cubicBezTo>
                  <a:cubicBezTo>
                    <a:pt x="1283" y="21"/>
                    <a:pt x="1296" y="31"/>
                    <a:pt x="1305" y="46"/>
                  </a:cubicBezTo>
                  <a:cubicBezTo>
                    <a:pt x="1313" y="59"/>
                    <a:pt x="1317" y="73"/>
                    <a:pt x="1317" y="89"/>
                  </a:cubicBezTo>
                  <a:cubicBezTo>
                    <a:pt x="1317" y="122"/>
                    <a:pt x="1301" y="145"/>
                    <a:pt x="1269" y="160"/>
                  </a:cubicBezTo>
                  <a:cubicBezTo>
                    <a:pt x="1310" y="174"/>
                    <a:pt x="1330" y="201"/>
                    <a:pt x="1330" y="243"/>
                  </a:cubicBezTo>
                  <a:cubicBezTo>
                    <a:pt x="1330" y="279"/>
                    <a:pt x="1317" y="306"/>
                    <a:pt x="1289" y="324"/>
                  </a:cubicBezTo>
                  <a:cubicBezTo>
                    <a:pt x="1272" y="335"/>
                    <a:pt x="1249" y="341"/>
                    <a:pt x="1221" y="341"/>
                  </a:cubicBezTo>
                  <a:lnTo>
                    <a:pt x="1091" y="341"/>
                  </a:lnTo>
                  <a:close/>
                  <a:moveTo>
                    <a:pt x="1382" y="341"/>
                  </a:moveTo>
                  <a:lnTo>
                    <a:pt x="1382" y="8"/>
                  </a:lnTo>
                  <a:lnTo>
                    <a:pt x="1595" y="8"/>
                  </a:lnTo>
                  <a:lnTo>
                    <a:pt x="1595" y="69"/>
                  </a:lnTo>
                  <a:lnTo>
                    <a:pt x="1454" y="69"/>
                  </a:lnTo>
                  <a:lnTo>
                    <a:pt x="1454" y="140"/>
                  </a:lnTo>
                  <a:lnTo>
                    <a:pt x="1583" y="140"/>
                  </a:lnTo>
                  <a:lnTo>
                    <a:pt x="1583" y="198"/>
                  </a:lnTo>
                  <a:lnTo>
                    <a:pt x="1454" y="198"/>
                  </a:lnTo>
                  <a:lnTo>
                    <a:pt x="1454" y="280"/>
                  </a:lnTo>
                  <a:lnTo>
                    <a:pt x="1598" y="280"/>
                  </a:lnTo>
                  <a:lnTo>
                    <a:pt x="1598" y="341"/>
                  </a:lnTo>
                  <a:lnTo>
                    <a:pt x="1382" y="341"/>
                  </a:lnTo>
                  <a:close/>
                  <a:moveTo>
                    <a:pt x="1655" y="341"/>
                  </a:moveTo>
                  <a:lnTo>
                    <a:pt x="1655" y="8"/>
                  </a:lnTo>
                  <a:lnTo>
                    <a:pt x="1727" y="8"/>
                  </a:lnTo>
                  <a:lnTo>
                    <a:pt x="1831" y="222"/>
                  </a:lnTo>
                  <a:lnTo>
                    <a:pt x="1831" y="8"/>
                  </a:lnTo>
                  <a:lnTo>
                    <a:pt x="1900" y="8"/>
                  </a:lnTo>
                  <a:lnTo>
                    <a:pt x="1900" y="341"/>
                  </a:lnTo>
                  <a:lnTo>
                    <a:pt x="1828" y="341"/>
                  </a:lnTo>
                  <a:lnTo>
                    <a:pt x="1723" y="127"/>
                  </a:lnTo>
                  <a:lnTo>
                    <a:pt x="1723" y="341"/>
                  </a:lnTo>
                  <a:lnTo>
                    <a:pt x="1655" y="341"/>
                  </a:lnTo>
                  <a:close/>
                  <a:moveTo>
                    <a:pt x="2030" y="269"/>
                  </a:moveTo>
                  <a:lnTo>
                    <a:pt x="2030" y="325"/>
                  </a:lnTo>
                  <a:cubicBezTo>
                    <a:pt x="2030" y="347"/>
                    <a:pt x="2027" y="364"/>
                    <a:pt x="2021" y="377"/>
                  </a:cubicBezTo>
                  <a:cubicBezTo>
                    <a:pt x="2016" y="388"/>
                    <a:pt x="2006" y="398"/>
                    <a:pt x="1992" y="407"/>
                  </a:cubicBezTo>
                  <a:cubicBezTo>
                    <a:pt x="1982" y="413"/>
                    <a:pt x="1970" y="417"/>
                    <a:pt x="1957" y="419"/>
                  </a:cubicBezTo>
                  <a:lnTo>
                    <a:pt x="1957" y="384"/>
                  </a:lnTo>
                  <a:cubicBezTo>
                    <a:pt x="1967" y="381"/>
                    <a:pt x="1975" y="376"/>
                    <a:pt x="1980" y="367"/>
                  </a:cubicBezTo>
                  <a:cubicBezTo>
                    <a:pt x="1985" y="360"/>
                    <a:pt x="1988" y="351"/>
                    <a:pt x="1988" y="341"/>
                  </a:cubicBezTo>
                  <a:lnTo>
                    <a:pt x="1957" y="341"/>
                  </a:lnTo>
                  <a:lnTo>
                    <a:pt x="1957" y="269"/>
                  </a:lnTo>
                  <a:lnTo>
                    <a:pt x="2030" y="269"/>
                  </a:lnTo>
                  <a:close/>
                  <a:moveTo>
                    <a:pt x="2153" y="8"/>
                  </a:moveTo>
                  <a:lnTo>
                    <a:pt x="2225" y="8"/>
                  </a:lnTo>
                  <a:lnTo>
                    <a:pt x="2265" y="236"/>
                  </a:lnTo>
                  <a:lnTo>
                    <a:pt x="2308" y="8"/>
                  </a:lnTo>
                  <a:lnTo>
                    <a:pt x="2376" y="8"/>
                  </a:lnTo>
                  <a:lnTo>
                    <a:pt x="2418" y="236"/>
                  </a:lnTo>
                  <a:lnTo>
                    <a:pt x="2459" y="8"/>
                  </a:lnTo>
                  <a:lnTo>
                    <a:pt x="2530" y="8"/>
                  </a:lnTo>
                  <a:lnTo>
                    <a:pt x="2455" y="341"/>
                  </a:lnTo>
                  <a:lnTo>
                    <a:pt x="2383" y="341"/>
                  </a:lnTo>
                  <a:lnTo>
                    <a:pt x="2341" y="114"/>
                  </a:lnTo>
                  <a:lnTo>
                    <a:pt x="2300" y="341"/>
                  </a:lnTo>
                  <a:lnTo>
                    <a:pt x="2228" y="341"/>
                  </a:lnTo>
                  <a:lnTo>
                    <a:pt x="2153" y="8"/>
                  </a:lnTo>
                  <a:close/>
                  <a:moveTo>
                    <a:pt x="2634" y="212"/>
                  </a:moveTo>
                  <a:lnTo>
                    <a:pt x="2698" y="212"/>
                  </a:lnTo>
                  <a:lnTo>
                    <a:pt x="2666" y="97"/>
                  </a:lnTo>
                  <a:lnTo>
                    <a:pt x="2634" y="212"/>
                  </a:lnTo>
                  <a:close/>
                  <a:moveTo>
                    <a:pt x="2630" y="8"/>
                  </a:moveTo>
                  <a:lnTo>
                    <a:pt x="2703" y="8"/>
                  </a:lnTo>
                  <a:lnTo>
                    <a:pt x="2808" y="341"/>
                  </a:lnTo>
                  <a:lnTo>
                    <a:pt x="2734" y="341"/>
                  </a:lnTo>
                  <a:lnTo>
                    <a:pt x="2713" y="266"/>
                  </a:lnTo>
                  <a:lnTo>
                    <a:pt x="2618" y="266"/>
                  </a:lnTo>
                  <a:lnTo>
                    <a:pt x="2597" y="341"/>
                  </a:lnTo>
                  <a:lnTo>
                    <a:pt x="2524" y="341"/>
                  </a:lnTo>
                  <a:lnTo>
                    <a:pt x="2630" y="8"/>
                  </a:lnTo>
                  <a:close/>
                  <a:moveTo>
                    <a:pt x="2824" y="243"/>
                  </a:moveTo>
                  <a:lnTo>
                    <a:pt x="2896" y="243"/>
                  </a:lnTo>
                  <a:cubicBezTo>
                    <a:pt x="2898" y="256"/>
                    <a:pt x="2901" y="266"/>
                    <a:pt x="2905" y="272"/>
                  </a:cubicBezTo>
                  <a:cubicBezTo>
                    <a:pt x="2913" y="285"/>
                    <a:pt x="2925" y="292"/>
                    <a:pt x="2941" y="292"/>
                  </a:cubicBezTo>
                  <a:cubicBezTo>
                    <a:pt x="2956" y="292"/>
                    <a:pt x="2967" y="287"/>
                    <a:pt x="2974" y="279"/>
                  </a:cubicBezTo>
                  <a:cubicBezTo>
                    <a:pt x="2981" y="271"/>
                    <a:pt x="2985" y="262"/>
                    <a:pt x="2985" y="250"/>
                  </a:cubicBezTo>
                  <a:cubicBezTo>
                    <a:pt x="2985" y="238"/>
                    <a:pt x="2979" y="227"/>
                    <a:pt x="2968" y="218"/>
                  </a:cubicBezTo>
                  <a:cubicBezTo>
                    <a:pt x="2963" y="213"/>
                    <a:pt x="2956" y="210"/>
                    <a:pt x="2948" y="206"/>
                  </a:cubicBezTo>
                  <a:cubicBezTo>
                    <a:pt x="2946" y="205"/>
                    <a:pt x="2938" y="202"/>
                    <a:pt x="2924" y="197"/>
                  </a:cubicBezTo>
                  <a:cubicBezTo>
                    <a:pt x="2897" y="188"/>
                    <a:pt x="2877" y="178"/>
                    <a:pt x="2865" y="168"/>
                  </a:cubicBezTo>
                  <a:cubicBezTo>
                    <a:pt x="2840" y="149"/>
                    <a:pt x="2828" y="124"/>
                    <a:pt x="2828" y="93"/>
                  </a:cubicBezTo>
                  <a:cubicBezTo>
                    <a:pt x="2828" y="66"/>
                    <a:pt x="2837" y="45"/>
                    <a:pt x="2854" y="28"/>
                  </a:cubicBezTo>
                  <a:cubicBezTo>
                    <a:pt x="2872" y="9"/>
                    <a:pt x="2899" y="0"/>
                    <a:pt x="2932" y="0"/>
                  </a:cubicBezTo>
                  <a:cubicBezTo>
                    <a:pt x="2974" y="0"/>
                    <a:pt x="3005" y="14"/>
                    <a:pt x="3026" y="43"/>
                  </a:cubicBezTo>
                  <a:cubicBezTo>
                    <a:pt x="3035" y="56"/>
                    <a:pt x="3042" y="74"/>
                    <a:pt x="3045" y="95"/>
                  </a:cubicBezTo>
                  <a:lnTo>
                    <a:pt x="2975" y="95"/>
                  </a:lnTo>
                  <a:cubicBezTo>
                    <a:pt x="2973" y="83"/>
                    <a:pt x="2969" y="73"/>
                    <a:pt x="2963" y="67"/>
                  </a:cubicBezTo>
                  <a:cubicBezTo>
                    <a:pt x="2955" y="60"/>
                    <a:pt x="2945" y="57"/>
                    <a:pt x="2931" y="57"/>
                  </a:cubicBezTo>
                  <a:cubicBezTo>
                    <a:pt x="2920" y="57"/>
                    <a:pt x="2911" y="60"/>
                    <a:pt x="2905" y="65"/>
                  </a:cubicBezTo>
                  <a:cubicBezTo>
                    <a:pt x="2898" y="71"/>
                    <a:pt x="2894" y="80"/>
                    <a:pt x="2894" y="91"/>
                  </a:cubicBezTo>
                  <a:cubicBezTo>
                    <a:pt x="2894" y="103"/>
                    <a:pt x="2900" y="113"/>
                    <a:pt x="2911" y="121"/>
                  </a:cubicBezTo>
                  <a:cubicBezTo>
                    <a:pt x="2919" y="127"/>
                    <a:pt x="2935" y="134"/>
                    <a:pt x="2959" y="142"/>
                  </a:cubicBezTo>
                  <a:cubicBezTo>
                    <a:pt x="2987" y="151"/>
                    <a:pt x="3009" y="161"/>
                    <a:pt x="3024" y="174"/>
                  </a:cubicBezTo>
                  <a:cubicBezTo>
                    <a:pt x="3047" y="191"/>
                    <a:pt x="3058" y="215"/>
                    <a:pt x="3058" y="246"/>
                  </a:cubicBezTo>
                  <a:cubicBezTo>
                    <a:pt x="3058" y="276"/>
                    <a:pt x="3048" y="301"/>
                    <a:pt x="3027" y="319"/>
                  </a:cubicBezTo>
                  <a:cubicBezTo>
                    <a:pt x="3005" y="339"/>
                    <a:pt x="2976" y="349"/>
                    <a:pt x="2940" y="349"/>
                  </a:cubicBezTo>
                  <a:cubicBezTo>
                    <a:pt x="2897" y="349"/>
                    <a:pt x="2865" y="333"/>
                    <a:pt x="2844" y="300"/>
                  </a:cubicBezTo>
                  <a:cubicBezTo>
                    <a:pt x="2833" y="284"/>
                    <a:pt x="2826" y="265"/>
                    <a:pt x="2824" y="243"/>
                  </a:cubicBezTo>
                  <a:close/>
                  <a:moveTo>
                    <a:pt x="3331" y="341"/>
                  </a:moveTo>
                  <a:lnTo>
                    <a:pt x="3251" y="341"/>
                  </a:lnTo>
                  <a:lnTo>
                    <a:pt x="3160" y="8"/>
                  </a:lnTo>
                  <a:lnTo>
                    <a:pt x="3235" y="8"/>
                  </a:lnTo>
                  <a:lnTo>
                    <a:pt x="3293" y="248"/>
                  </a:lnTo>
                  <a:lnTo>
                    <a:pt x="3350" y="8"/>
                  </a:lnTo>
                  <a:lnTo>
                    <a:pt x="3423" y="8"/>
                  </a:lnTo>
                  <a:lnTo>
                    <a:pt x="3331" y="341"/>
                  </a:lnTo>
                  <a:close/>
                  <a:moveTo>
                    <a:pt x="3459" y="341"/>
                  </a:moveTo>
                  <a:lnTo>
                    <a:pt x="3459" y="8"/>
                  </a:lnTo>
                  <a:lnTo>
                    <a:pt x="3672" y="8"/>
                  </a:lnTo>
                  <a:lnTo>
                    <a:pt x="3672" y="69"/>
                  </a:lnTo>
                  <a:lnTo>
                    <a:pt x="3530" y="69"/>
                  </a:lnTo>
                  <a:lnTo>
                    <a:pt x="3530" y="140"/>
                  </a:lnTo>
                  <a:lnTo>
                    <a:pt x="3659" y="140"/>
                  </a:lnTo>
                  <a:lnTo>
                    <a:pt x="3659" y="198"/>
                  </a:lnTo>
                  <a:lnTo>
                    <a:pt x="3530" y="198"/>
                  </a:lnTo>
                  <a:lnTo>
                    <a:pt x="3530" y="280"/>
                  </a:lnTo>
                  <a:lnTo>
                    <a:pt x="3675" y="280"/>
                  </a:lnTo>
                  <a:lnTo>
                    <a:pt x="3675" y="341"/>
                  </a:lnTo>
                  <a:lnTo>
                    <a:pt x="3459" y="341"/>
                  </a:lnTo>
                  <a:close/>
                  <a:moveTo>
                    <a:pt x="3803" y="156"/>
                  </a:moveTo>
                  <a:lnTo>
                    <a:pt x="3842" y="156"/>
                  </a:lnTo>
                  <a:cubicBezTo>
                    <a:pt x="3864" y="156"/>
                    <a:pt x="3879" y="151"/>
                    <a:pt x="3887" y="142"/>
                  </a:cubicBezTo>
                  <a:cubicBezTo>
                    <a:pt x="3894" y="134"/>
                    <a:pt x="3897" y="123"/>
                    <a:pt x="3897" y="109"/>
                  </a:cubicBezTo>
                  <a:cubicBezTo>
                    <a:pt x="3897" y="92"/>
                    <a:pt x="3892" y="79"/>
                    <a:pt x="3880" y="71"/>
                  </a:cubicBezTo>
                  <a:cubicBezTo>
                    <a:pt x="3873" y="67"/>
                    <a:pt x="3861" y="64"/>
                    <a:pt x="3844" y="64"/>
                  </a:cubicBezTo>
                  <a:lnTo>
                    <a:pt x="3803" y="64"/>
                  </a:lnTo>
                  <a:lnTo>
                    <a:pt x="3803" y="156"/>
                  </a:lnTo>
                  <a:close/>
                  <a:moveTo>
                    <a:pt x="3732" y="341"/>
                  </a:moveTo>
                  <a:lnTo>
                    <a:pt x="3732" y="8"/>
                  </a:lnTo>
                  <a:lnTo>
                    <a:pt x="3860" y="8"/>
                  </a:lnTo>
                  <a:cubicBezTo>
                    <a:pt x="3893" y="8"/>
                    <a:pt x="3919" y="15"/>
                    <a:pt x="3937" y="30"/>
                  </a:cubicBezTo>
                  <a:cubicBezTo>
                    <a:pt x="3958" y="46"/>
                    <a:pt x="3969" y="70"/>
                    <a:pt x="3969" y="101"/>
                  </a:cubicBezTo>
                  <a:cubicBezTo>
                    <a:pt x="3969" y="126"/>
                    <a:pt x="3962" y="147"/>
                    <a:pt x="3947" y="164"/>
                  </a:cubicBezTo>
                  <a:cubicBezTo>
                    <a:pt x="3940" y="172"/>
                    <a:pt x="3932" y="178"/>
                    <a:pt x="3921" y="183"/>
                  </a:cubicBezTo>
                  <a:cubicBezTo>
                    <a:pt x="3935" y="187"/>
                    <a:pt x="3945" y="196"/>
                    <a:pt x="3953" y="209"/>
                  </a:cubicBezTo>
                  <a:cubicBezTo>
                    <a:pt x="3957" y="216"/>
                    <a:pt x="3961" y="228"/>
                    <a:pt x="3963" y="243"/>
                  </a:cubicBezTo>
                  <a:cubicBezTo>
                    <a:pt x="3964" y="249"/>
                    <a:pt x="3966" y="265"/>
                    <a:pt x="3967" y="293"/>
                  </a:cubicBezTo>
                  <a:cubicBezTo>
                    <a:pt x="3969" y="311"/>
                    <a:pt x="3971" y="322"/>
                    <a:pt x="3973" y="328"/>
                  </a:cubicBezTo>
                  <a:cubicBezTo>
                    <a:pt x="3974" y="332"/>
                    <a:pt x="3976" y="336"/>
                    <a:pt x="3979" y="341"/>
                  </a:cubicBezTo>
                  <a:lnTo>
                    <a:pt x="3905" y="341"/>
                  </a:lnTo>
                  <a:cubicBezTo>
                    <a:pt x="3903" y="335"/>
                    <a:pt x="3901" y="329"/>
                    <a:pt x="3900" y="322"/>
                  </a:cubicBezTo>
                  <a:cubicBezTo>
                    <a:pt x="3900" y="318"/>
                    <a:pt x="3899" y="303"/>
                    <a:pt x="3897" y="279"/>
                  </a:cubicBezTo>
                  <a:cubicBezTo>
                    <a:pt x="3895" y="256"/>
                    <a:pt x="3892" y="240"/>
                    <a:pt x="3888" y="233"/>
                  </a:cubicBezTo>
                  <a:cubicBezTo>
                    <a:pt x="3883" y="222"/>
                    <a:pt x="3876" y="215"/>
                    <a:pt x="3866" y="212"/>
                  </a:cubicBezTo>
                  <a:cubicBezTo>
                    <a:pt x="3861" y="211"/>
                    <a:pt x="3853" y="210"/>
                    <a:pt x="3844" y="210"/>
                  </a:cubicBezTo>
                  <a:lnTo>
                    <a:pt x="3803" y="210"/>
                  </a:lnTo>
                  <a:lnTo>
                    <a:pt x="3803" y="341"/>
                  </a:lnTo>
                  <a:lnTo>
                    <a:pt x="3732" y="341"/>
                  </a:lnTo>
                  <a:close/>
                  <a:moveTo>
                    <a:pt x="4103" y="284"/>
                  </a:moveTo>
                  <a:lnTo>
                    <a:pt x="4142" y="284"/>
                  </a:lnTo>
                  <a:cubicBezTo>
                    <a:pt x="4162" y="284"/>
                    <a:pt x="4176" y="280"/>
                    <a:pt x="4184" y="274"/>
                  </a:cubicBezTo>
                  <a:cubicBezTo>
                    <a:pt x="4195" y="265"/>
                    <a:pt x="4200" y="253"/>
                    <a:pt x="4200" y="238"/>
                  </a:cubicBezTo>
                  <a:cubicBezTo>
                    <a:pt x="4200" y="219"/>
                    <a:pt x="4193" y="206"/>
                    <a:pt x="4179" y="199"/>
                  </a:cubicBezTo>
                  <a:cubicBezTo>
                    <a:pt x="4171" y="194"/>
                    <a:pt x="4158" y="192"/>
                    <a:pt x="4139" y="192"/>
                  </a:cubicBezTo>
                  <a:lnTo>
                    <a:pt x="4103" y="192"/>
                  </a:lnTo>
                  <a:lnTo>
                    <a:pt x="4103" y="284"/>
                  </a:lnTo>
                  <a:close/>
                  <a:moveTo>
                    <a:pt x="4103" y="142"/>
                  </a:moveTo>
                  <a:lnTo>
                    <a:pt x="4135" y="142"/>
                  </a:lnTo>
                  <a:cubicBezTo>
                    <a:pt x="4153" y="142"/>
                    <a:pt x="4165" y="140"/>
                    <a:pt x="4173" y="134"/>
                  </a:cubicBezTo>
                  <a:cubicBezTo>
                    <a:pt x="4183" y="127"/>
                    <a:pt x="4188" y="116"/>
                    <a:pt x="4188" y="102"/>
                  </a:cubicBezTo>
                  <a:cubicBezTo>
                    <a:pt x="4188" y="87"/>
                    <a:pt x="4182" y="76"/>
                    <a:pt x="4170" y="70"/>
                  </a:cubicBezTo>
                  <a:cubicBezTo>
                    <a:pt x="4163" y="66"/>
                    <a:pt x="4152" y="64"/>
                    <a:pt x="4135" y="64"/>
                  </a:cubicBezTo>
                  <a:lnTo>
                    <a:pt x="4103" y="64"/>
                  </a:lnTo>
                  <a:lnTo>
                    <a:pt x="4103" y="142"/>
                  </a:lnTo>
                  <a:close/>
                  <a:moveTo>
                    <a:pt x="4032" y="341"/>
                  </a:moveTo>
                  <a:lnTo>
                    <a:pt x="4032" y="8"/>
                  </a:lnTo>
                  <a:lnTo>
                    <a:pt x="4151" y="8"/>
                  </a:lnTo>
                  <a:cubicBezTo>
                    <a:pt x="4174" y="8"/>
                    <a:pt x="4193" y="10"/>
                    <a:pt x="4205" y="14"/>
                  </a:cubicBezTo>
                  <a:cubicBezTo>
                    <a:pt x="4224" y="21"/>
                    <a:pt x="4238" y="31"/>
                    <a:pt x="4247" y="46"/>
                  </a:cubicBezTo>
                  <a:cubicBezTo>
                    <a:pt x="4255" y="59"/>
                    <a:pt x="4259" y="73"/>
                    <a:pt x="4259" y="89"/>
                  </a:cubicBezTo>
                  <a:cubicBezTo>
                    <a:pt x="4259" y="122"/>
                    <a:pt x="4243" y="145"/>
                    <a:pt x="4211" y="160"/>
                  </a:cubicBezTo>
                  <a:cubicBezTo>
                    <a:pt x="4251" y="174"/>
                    <a:pt x="4272" y="201"/>
                    <a:pt x="4272" y="243"/>
                  </a:cubicBezTo>
                  <a:cubicBezTo>
                    <a:pt x="4272" y="279"/>
                    <a:pt x="4258" y="306"/>
                    <a:pt x="4231" y="324"/>
                  </a:cubicBezTo>
                  <a:cubicBezTo>
                    <a:pt x="4214" y="335"/>
                    <a:pt x="4191" y="341"/>
                    <a:pt x="4162" y="341"/>
                  </a:cubicBezTo>
                  <a:lnTo>
                    <a:pt x="4032" y="341"/>
                  </a:lnTo>
                  <a:close/>
                  <a:moveTo>
                    <a:pt x="4323" y="341"/>
                  </a:moveTo>
                  <a:lnTo>
                    <a:pt x="4323" y="8"/>
                  </a:lnTo>
                  <a:lnTo>
                    <a:pt x="4395" y="8"/>
                  </a:lnTo>
                  <a:lnTo>
                    <a:pt x="4395" y="341"/>
                  </a:lnTo>
                  <a:lnTo>
                    <a:pt x="4323" y="341"/>
                  </a:lnTo>
                  <a:close/>
                  <a:moveTo>
                    <a:pt x="4460" y="341"/>
                  </a:moveTo>
                  <a:lnTo>
                    <a:pt x="4460" y="8"/>
                  </a:lnTo>
                  <a:lnTo>
                    <a:pt x="4532" y="8"/>
                  </a:lnTo>
                  <a:lnTo>
                    <a:pt x="4637" y="222"/>
                  </a:lnTo>
                  <a:lnTo>
                    <a:pt x="4637" y="8"/>
                  </a:lnTo>
                  <a:lnTo>
                    <a:pt x="4705" y="8"/>
                  </a:lnTo>
                  <a:lnTo>
                    <a:pt x="4705" y="341"/>
                  </a:lnTo>
                  <a:lnTo>
                    <a:pt x="4634" y="341"/>
                  </a:lnTo>
                  <a:lnTo>
                    <a:pt x="4528" y="127"/>
                  </a:lnTo>
                  <a:lnTo>
                    <a:pt x="4528" y="341"/>
                  </a:lnTo>
                  <a:lnTo>
                    <a:pt x="4460" y="341"/>
                  </a:lnTo>
                  <a:close/>
                  <a:moveTo>
                    <a:pt x="4842" y="280"/>
                  </a:moveTo>
                  <a:lnTo>
                    <a:pt x="4874" y="280"/>
                  </a:lnTo>
                  <a:cubicBezTo>
                    <a:pt x="4899" y="280"/>
                    <a:pt x="4918" y="274"/>
                    <a:pt x="4929" y="262"/>
                  </a:cubicBezTo>
                  <a:cubicBezTo>
                    <a:pt x="4947" y="243"/>
                    <a:pt x="4956" y="213"/>
                    <a:pt x="4956" y="173"/>
                  </a:cubicBezTo>
                  <a:cubicBezTo>
                    <a:pt x="4956" y="139"/>
                    <a:pt x="4948" y="113"/>
                    <a:pt x="4933" y="94"/>
                  </a:cubicBezTo>
                  <a:cubicBezTo>
                    <a:pt x="4920" y="77"/>
                    <a:pt x="4900" y="69"/>
                    <a:pt x="4872" y="69"/>
                  </a:cubicBezTo>
                  <a:lnTo>
                    <a:pt x="4842" y="69"/>
                  </a:lnTo>
                  <a:lnTo>
                    <a:pt x="4842" y="280"/>
                  </a:lnTo>
                  <a:close/>
                  <a:moveTo>
                    <a:pt x="4770" y="341"/>
                  </a:moveTo>
                  <a:lnTo>
                    <a:pt x="4770" y="8"/>
                  </a:lnTo>
                  <a:lnTo>
                    <a:pt x="4873" y="8"/>
                  </a:lnTo>
                  <a:cubicBezTo>
                    <a:pt x="4918" y="8"/>
                    <a:pt x="4954" y="20"/>
                    <a:pt x="4980" y="44"/>
                  </a:cubicBezTo>
                  <a:cubicBezTo>
                    <a:pt x="5011" y="73"/>
                    <a:pt x="5027" y="116"/>
                    <a:pt x="5027" y="174"/>
                  </a:cubicBezTo>
                  <a:cubicBezTo>
                    <a:pt x="5027" y="229"/>
                    <a:pt x="5012" y="272"/>
                    <a:pt x="4982" y="302"/>
                  </a:cubicBezTo>
                  <a:cubicBezTo>
                    <a:pt x="4966" y="319"/>
                    <a:pt x="4947" y="330"/>
                    <a:pt x="4926" y="335"/>
                  </a:cubicBezTo>
                  <a:cubicBezTo>
                    <a:pt x="4911" y="339"/>
                    <a:pt x="4893" y="341"/>
                    <a:pt x="4873" y="341"/>
                  </a:cubicBezTo>
                  <a:lnTo>
                    <a:pt x="4770" y="341"/>
                  </a:lnTo>
                  <a:close/>
                  <a:moveTo>
                    <a:pt x="5078" y="341"/>
                  </a:moveTo>
                  <a:lnTo>
                    <a:pt x="5078" y="8"/>
                  </a:lnTo>
                  <a:lnTo>
                    <a:pt x="5291" y="8"/>
                  </a:lnTo>
                  <a:lnTo>
                    <a:pt x="5291" y="69"/>
                  </a:lnTo>
                  <a:lnTo>
                    <a:pt x="5150" y="69"/>
                  </a:lnTo>
                  <a:lnTo>
                    <a:pt x="5150" y="140"/>
                  </a:lnTo>
                  <a:lnTo>
                    <a:pt x="5278" y="140"/>
                  </a:lnTo>
                  <a:lnTo>
                    <a:pt x="5278" y="198"/>
                  </a:lnTo>
                  <a:lnTo>
                    <a:pt x="5150" y="198"/>
                  </a:lnTo>
                  <a:lnTo>
                    <a:pt x="5150" y="280"/>
                  </a:lnTo>
                  <a:lnTo>
                    <a:pt x="5294" y="280"/>
                  </a:lnTo>
                  <a:lnTo>
                    <a:pt x="5294" y="341"/>
                  </a:lnTo>
                  <a:lnTo>
                    <a:pt x="5078" y="341"/>
                  </a:lnTo>
                  <a:close/>
                  <a:moveTo>
                    <a:pt x="5410" y="341"/>
                  </a:moveTo>
                  <a:lnTo>
                    <a:pt x="5410" y="69"/>
                  </a:lnTo>
                  <a:lnTo>
                    <a:pt x="5329" y="69"/>
                  </a:lnTo>
                  <a:lnTo>
                    <a:pt x="5329" y="8"/>
                  </a:lnTo>
                  <a:lnTo>
                    <a:pt x="5563" y="8"/>
                  </a:lnTo>
                  <a:lnTo>
                    <a:pt x="5563" y="69"/>
                  </a:lnTo>
                  <a:lnTo>
                    <a:pt x="5481" y="69"/>
                  </a:lnTo>
                  <a:lnTo>
                    <a:pt x="5481" y="341"/>
                  </a:lnTo>
                  <a:lnTo>
                    <a:pt x="5410" y="341"/>
                  </a:lnTo>
                  <a:close/>
                  <a:moveTo>
                    <a:pt x="5644" y="269"/>
                  </a:moveTo>
                  <a:lnTo>
                    <a:pt x="5644" y="341"/>
                  </a:lnTo>
                  <a:lnTo>
                    <a:pt x="5571" y="341"/>
                  </a:lnTo>
                  <a:lnTo>
                    <a:pt x="5571" y="269"/>
                  </a:lnTo>
                  <a:lnTo>
                    <a:pt x="5644" y="269"/>
                  </a:lnTo>
                  <a:close/>
                </a:path>
              </a:pathLst>
            </a:custGeom>
            <a:solidFill>
              <a:srgbClr val="E20074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de-DE">
                <a:latin typeface="+mn-lt"/>
              </a:endParaRPr>
            </a:p>
          </p:txBody>
        </p:sp>
        <p:sp>
          <p:nvSpPr>
            <p:cNvPr id="40" name="Freeform 5"/>
            <p:cNvSpPr>
              <a:spLocks noChangeAspect="1" noEditPoints="1"/>
            </p:cNvSpPr>
            <p:nvPr userDrawn="1"/>
          </p:nvSpPr>
          <p:spPr bwMode="black">
            <a:xfrm>
              <a:off x="321317" y="6153149"/>
              <a:ext cx="760793" cy="371475"/>
            </a:xfrm>
            <a:custGeom>
              <a:avLst/>
              <a:gdLst/>
              <a:ahLst/>
              <a:cxnLst>
                <a:cxn ang="0">
                  <a:pos x="1" y="604"/>
                </a:cxn>
                <a:cxn ang="0">
                  <a:pos x="274" y="604"/>
                </a:cxn>
                <a:cxn ang="0">
                  <a:pos x="274" y="871"/>
                </a:cxn>
                <a:cxn ang="0">
                  <a:pos x="1" y="871"/>
                </a:cxn>
                <a:cxn ang="0">
                  <a:pos x="1" y="604"/>
                </a:cxn>
                <a:cxn ang="0">
                  <a:pos x="650" y="1032"/>
                </a:cxn>
                <a:cxn ang="0">
                  <a:pos x="688" y="1197"/>
                </a:cxn>
                <a:cxn ang="0">
                  <a:pos x="797" y="1237"/>
                </a:cxn>
                <a:cxn ang="0">
                  <a:pos x="875" y="1238"/>
                </a:cxn>
                <a:cxn ang="0">
                  <a:pos x="875" y="1313"/>
                </a:cxn>
                <a:cxn ang="0">
                  <a:pos x="219" y="1313"/>
                </a:cxn>
                <a:cxn ang="0">
                  <a:pos x="219" y="1238"/>
                </a:cxn>
                <a:cxn ang="0">
                  <a:pos x="335" y="1231"/>
                </a:cxn>
                <a:cxn ang="0">
                  <a:pos x="431" y="1144"/>
                </a:cxn>
                <a:cxn ang="0">
                  <a:pos x="442" y="1032"/>
                </a:cxn>
                <a:cxn ang="0">
                  <a:pos x="442" y="63"/>
                </a:cxn>
                <a:cxn ang="0">
                  <a:pos x="180" y="171"/>
                </a:cxn>
                <a:cxn ang="0">
                  <a:pos x="71" y="475"/>
                </a:cxn>
                <a:cxn ang="0">
                  <a:pos x="0" y="463"/>
                </a:cxn>
                <a:cxn ang="0">
                  <a:pos x="13" y="0"/>
                </a:cxn>
                <a:cxn ang="0">
                  <a:pos x="1081" y="0"/>
                </a:cxn>
                <a:cxn ang="0">
                  <a:pos x="1094" y="463"/>
                </a:cxn>
                <a:cxn ang="0">
                  <a:pos x="1023" y="475"/>
                </a:cxn>
                <a:cxn ang="0">
                  <a:pos x="913" y="171"/>
                </a:cxn>
                <a:cxn ang="0">
                  <a:pos x="650" y="63"/>
                </a:cxn>
                <a:cxn ang="0">
                  <a:pos x="650" y="1032"/>
                </a:cxn>
                <a:cxn ang="0">
                  <a:pos x="824" y="604"/>
                </a:cxn>
                <a:cxn ang="0">
                  <a:pos x="1096" y="604"/>
                </a:cxn>
                <a:cxn ang="0">
                  <a:pos x="1096" y="871"/>
                </a:cxn>
                <a:cxn ang="0">
                  <a:pos x="824" y="871"/>
                </a:cxn>
                <a:cxn ang="0">
                  <a:pos x="824" y="604"/>
                </a:cxn>
                <a:cxn ang="0">
                  <a:pos x="1641" y="604"/>
                </a:cxn>
                <a:cxn ang="0">
                  <a:pos x="1914" y="604"/>
                </a:cxn>
                <a:cxn ang="0">
                  <a:pos x="1914" y="871"/>
                </a:cxn>
                <a:cxn ang="0">
                  <a:pos x="1641" y="871"/>
                </a:cxn>
                <a:cxn ang="0">
                  <a:pos x="1641" y="604"/>
                </a:cxn>
                <a:cxn ang="0">
                  <a:pos x="2459" y="604"/>
                </a:cxn>
                <a:cxn ang="0">
                  <a:pos x="2731" y="604"/>
                </a:cxn>
                <a:cxn ang="0">
                  <a:pos x="2731" y="871"/>
                </a:cxn>
                <a:cxn ang="0">
                  <a:pos x="2459" y="871"/>
                </a:cxn>
                <a:cxn ang="0">
                  <a:pos x="2459" y="604"/>
                </a:cxn>
              </a:cxnLst>
              <a:rect l="0" t="0" r="r" b="b"/>
              <a:pathLst>
                <a:path w="2731" h="1313">
                  <a:moveTo>
                    <a:pt x="1" y="604"/>
                  </a:moveTo>
                  <a:lnTo>
                    <a:pt x="274" y="604"/>
                  </a:lnTo>
                  <a:lnTo>
                    <a:pt x="274" y="871"/>
                  </a:lnTo>
                  <a:lnTo>
                    <a:pt x="1" y="871"/>
                  </a:lnTo>
                  <a:lnTo>
                    <a:pt x="1" y="604"/>
                  </a:lnTo>
                  <a:close/>
                  <a:moveTo>
                    <a:pt x="650" y="1032"/>
                  </a:moveTo>
                  <a:cubicBezTo>
                    <a:pt x="650" y="1117"/>
                    <a:pt x="663" y="1171"/>
                    <a:pt x="688" y="1197"/>
                  </a:cubicBezTo>
                  <a:cubicBezTo>
                    <a:pt x="710" y="1218"/>
                    <a:pt x="746" y="1232"/>
                    <a:pt x="797" y="1237"/>
                  </a:cubicBezTo>
                  <a:cubicBezTo>
                    <a:pt x="813" y="1238"/>
                    <a:pt x="838" y="1238"/>
                    <a:pt x="875" y="1238"/>
                  </a:cubicBezTo>
                  <a:lnTo>
                    <a:pt x="875" y="1313"/>
                  </a:lnTo>
                  <a:lnTo>
                    <a:pt x="219" y="1313"/>
                  </a:lnTo>
                  <a:lnTo>
                    <a:pt x="219" y="1238"/>
                  </a:lnTo>
                  <a:cubicBezTo>
                    <a:pt x="271" y="1238"/>
                    <a:pt x="310" y="1236"/>
                    <a:pt x="335" y="1231"/>
                  </a:cubicBezTo>
                  <a:cubicBezTo>
                    <a:pt x="386" y="1221"/>
                    <a:pt x="418" y="1192"/>
                    <a:pt x="431" y="1144"/>
                  </a:cubicBezTo>
                  <a:cubicBezTo>
                    <a:pt x="438" y="1119"/>
                    <a:pt x="442" y="1082"/>
                    <a:pt x="442" y="1032"/>
                  </a:cubicBezTo>
                  <a:lnTo>
                    <a:pt x="442" y="63"/>
                  </a:lnTo>
                  <a:cubicBezTo>
                    <a:pt x="330" y="66"/>
                    <a:pt x="243" y="102"/>
                    <a:pt x="180" y="171"/>
                  </a:cubicBezTo>
                  <a:cubicBezTo>
                    <a:pt x="121" y="238"/>
                    <a:pt x="84" y="339"/>
                    <a:pt x="71" y="475"/>
                  </a:cubicBezTo>
                  <a:lnTo>
                    <a:pt x="0" y="463"/>
                  </a:lnTo>
                  <a:lnTo>
                    <a:pt x="13" y="0"/>
                  </a:lnTo>
                  <a:lnTo>
                    <a:pt x="1081" y="0"/>
                  </a:lnTo>
                  <a:lnTo>
                    <a:pt x="1094" y="463"/>
                  </a:lnTo>
                  <a:lnTo>
                    <a:pt x="1023" y="475"/>
                  </a:lnTo>
                  <a:cubicBezTo>
                    <a:pt x="1010" y="339"/>
                    <a:pt x="973" y="238"/>
                    <a:pt x="913" y="171"/>
                  </a:cubicBezTo>
                  <a:cubicBezTo>
                    <a:pt x="850" y="102"/>
                    <a:pt x="762" y="66"/>
                    <a:pt x="650" y="63"/>
                  </a:cubicBezTo>
                  <a:lnTo>
                    <a:pt x="650" y="1032"/>
                  </a:lnTo>
                  <a:close/>
                  <a:moveTo>
                    <a:pt x="824" y="604"/>
                  </a:moveTo>
                  <a:lnTo>
                    <a:pt x="1096" y="604"/>
                  </a:lnTo>
                  <a:lnTo>
                    <a:pt x="1096" y="871"/>
                  </a:lnTo>
                  <a:lnTo>
                    <a:pt x="824" y="871"/>
                  </a:lnTo>
                  <a:lnTo>
                    <a:pt x="824" y="604"/>
                  </a:lnTo>
                  <a:close/>
                  <a:moveTo>
                    <a:pt x="1641" y="604"/>
                  </a:moveTo>
                  <a:lnTo>
                    <a:pt x="1914" y="604"/>
                  </a:lnTo>
                  <a:lnTo>
                    <a:pt x="1914" y="871"/>
                  </a:lnTo>
                  <a:lnTo>
                    <a:pt x="1641" y="871"/>
                  </a:lnTo>
                  <a:lnTo>
                    <a:pt x="1641" y="604"/>
                  </a:lnTo>
                  <a:close/>
                  <a:moveTo>
                    <a:pt x="2459" y="604"/>
                  </a:moveTo>
                  <a:lnTo>
                    <a:pt x="2731" y="604"/>
                  </a:lnTo>
                  <a:lnTo>
                    <a:pt x="2731" y="871"/>
                  </a:lnTo>
                  <a:lnTo>
                    <a:pt x="2459" y="871"/>
                  </a:lnTo>
                  <a:lnTo>
                    <a:pt x="2459" y="604"/>
                  </a:lnTo>
                  <a:close/>
                </a:path>
              </a:pathLst>
            </a:custGeom>
            <a:solidFill>
              <a:srgbClr val="E20074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de-DE">
                <a:latin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892518730"/>
      </p:ext>
    </p:extLst>
  </p:cSld>
  <p:clrMap bg1="lt1" tx1="dk1" bg2="lt2" tx2="dk2" accent1="accent1" accent2="accent2" accent3="accent3" accent4="accent4" accent5="accent5" accent6="accent6" hlink="hlink" folHlink="folHlink"/>
  <p:hf hdr="0"/>
  <p:notesStyle>
    <a:lvl1pPr marL="141288" indent="-141288" algn="l" defTabSz="457200" rtl="0" fontAlgn="base">
      <a:spcBef>
        <a:spcPts val="300"/>
      </a:spcBef>
      <a:spcAft>
        <a:spcPts val="300"/>
      </a:spcAft>
      <a:buClr>
        <a:schemeClr val="tx2"/>
      </a:buClr>
      <a:buSzPct val="75000"/>
      <a:buFont typeface="Wingdings" pitchFamily="2" charset="2"/>
      <a:buChar char="§"/>
      <a:defRPr sz="1200" kern="1200">
        <a:solidFill>
          <a:schemeClr val="tx1"/>
        </a:solidFill>
        <a:latin typeface="+mn-lt"/>
        <a:ea typeface="+mn-ea"/>
        <a:cs typeface="Arial" charset="0"/>
      </a:defRPr>
    </a:lvl1pPr>
    <a:lvl2pPr marL="269875" indent="-127000" algn="l" defTabSz="457200" rtl="0" fontAlgn="base">
      <a:spcBef>
        <a:spcPts val="300"/>
      </a:spcBef>
      <a:spcAft>
        <a:spcPts val="300"/>
      </a:spcAft>
      <a:buClr>
        <a:schemeClr val="tx2"/>
      </a:buClr>
      <a:buSzPct val="75000"/>
      <a:buFont typeface="Wingdings" pitchFamily="2" charset="2"/>
      <a:buChar char="§"/>
      <a:defRPr sz="1200" kern="1200">
        <a:solidFill>
          <a:schemeClr val="tx1"/>
        </a:solidFill>
        <a:latin typeface="+mn-lt"/>
        <a:ea typeface="+mn-ea"/>
        <a:cs typeface="Arial" charset="0"/>
      </a:defRPr>
    </a:lvl2pPr>
    <a:lvl3pPr marL="438150" indent="-166688" algn="l" defTabSz="457200" rtl="0" fontAlgn="base">
      <a:spcBef>
        <a:spcPts val="300"/>
      </a:spcBef>
      <a:spcAft>
        <a:spcPts val="300"/>
      </a:spcAft>
      <a:buClr>
        <a:schemeClr val="tx2"/>
      </a:buClr>
      <a:buSzPct val="75000"/>
      <a:buFont typeface="Wingdings" pitchFamily="2" charset="2"/>
      <a:buChar char="§"/>
      <a:defRPr sz="1200" kern="1200">
        <a:solidFill>
          <a:schemeClr val="tx1"/>
        </a:solidFill>
        <a:latin typeface="+mn-lt"/>
        <a:ea typeface="+mn-ea"/>
        <a:cs typeface="Arial" charset="0"/>
      </a:defRPr>
    </a:lvl3pPr>
    <a:lvl4pPr marL="617538" indent="-177800" algn="l" defTabSz="457200" rtl="0" fontAlgn="base">
      <a:spcBef>
        <a:spcPts val="300"/>
      </a:spcBef>
      <a:spcAft>
        <a:spcPts val="300"/>
      </a:spcAft>
      <a:buClr>
        <a:schemeClr val="tx2"/>
      </a:buClr>
      <a:buSzPct val="75000"/>
      <a:buFont typeface="Wingdings" pitchFamily="2" charset="2"/>
      <a:buChar char="§"/>
      <a:defRPr sz="1200" kern="1200">
        <a:solidFill>
          <a:schemeClr val="tx1"/>
        </a:solidFill>
        <a:latin typeface="+mn-lt"/>
        <a:ea typeface="+mn-ea"/>
        <a:cs typeface="Arial" charset="0"/>
      </a:defRPr>
    </a:lvl4pPr>
    <a:lvl5pPr marL="785813" indent="-166688" algn="l" defTabSz="457200" rtl="0" fontAlgn="base">
      <a:spcBef>
        <a:spcPts val="300"/>
      </a:spcBef>
      <a:spcAft>
        <a:spcPts val="300"/>
      </a:spcAft>
      <a:buClr>
        <a:schemeClr val="tx2"/>
      </a:buClr>
      <a:buSzPct val="75000"/>
      <a:buFont typeface="Wingdings" pitchFamily="2" charset="2"/>
      <a:buChar char="§"/>
      <a:defRPr sz="1200" kern="1200">
        <a:solidFill>
          <a:schemeClr val="tx1"/>
        </a:solidFill>
        <a:latin typeface="+mn-lt"/>
        <a:ea typeface="+mn-ea"/>
        <a:cs typeface="Arial" charset="0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2"/>
          <p:cNvSpPr>
            <a:spLocks noGrp="1"/>
          </p:cNvSpPr>
          <p:nvPr>
            <p:ph type="dt" sz="quarter" idx="1"/>
          </p:nvPr>
        </p:nvSpPr>
        <p:spPr/>
        <p:txBody>
          <a:bodyPr/>
          <a:lstStyle/>
          <a:p>
            <a:fld id="{074C92EA-A5D7-4E81-9BC2-1950B19B8064}" type="datetimeFigureOut">
              <a:rPr lang="de-DE"/>
              <a:pPr/>
              <a:t>11.06.17</a:t>
            </a:fld>
            <a:endParaRPr lang="de-DE"/>
          </a:p>
        </p:txBody>
      </p:sp>
      <p:sp>
        <p:nvSpPr>
          <p:cNvPr id="110594" name="Rectangle 2"/>
          <p:cNvSpPr>
            <a:spLocks noGrp="1" noRot="1" noChangeAspect="1"/>
          </p:cNvSpPr>
          <p:nvPr>
            <p:ph type="sldImg"/>
          </p:nvPr>
        </p:nvSpPr>
        <p:spPr>
          <a:noFill/>
          <a:ln>
            <a:miter lim="800000"/>
            <a:headEnd/>
            <a:tailEnd/>
          </a:ln>
        </p:spPr>
      </p:sp>
      <p:sp>
        <p:nvSpPr>
          <p:cNvPr id="110595" name="Rectangle 3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pPr marL="0" indent="0">
              <a:buNone/>
            </a:pPr>
            <a:endParaRPr lang="de-DE" dirty="0" smtClean="0"/>
          </a:p>
        </p:txBody>
      </p:sp>
    </p:spTree>
    <p:extLst>
      <p:ext uri="{BB962C8B-B14F-4D97-AF65-F5344CB8AC3E}">
        <p14:creationId xmlns:p14="http://schemas.microsoft.com/office/powerpoint/2010/main" val="294200209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4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4" Type="http://schemas.openxmlformats.org/officeDocument/2006/relationships/slideMaster" Target="../slideMasters/slideMaster1.xml"/><Relationship Id="rId5" Type="http://schemas.openxmlformats.org/officeDocument/2006/relationships/oleObject" Target="../embeddings/oleObject1.bin"/><Relationship Id="rId6" Type="http://schemas.openxmlformats.org/officeDocument/2006/relationships/image" Target="../media/image5.emf"/><Relationship Id="rId1" Type="http://schemas.openxmlformats.org/officeDocument/2006/relationships/vmlDrawing" Target="../drawings/vmlDrawing1.vml"/><Relationship Id="rId2" Type="http://schemas.openxmlformats.org/officeDocument/2006/relationships/tags" Target="../tags/tag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4" Type="http://schemas.openxmlformats.org/officeDocument/2006/relationships/tags" Target="../tags/tag6.xml"/><Relationship Id="rId5" Type="http://schemas.openxmlformats.org/officeDocument/2006/relationships/slideMaster" Target="../slideMasters/slideMaster1.xml"/><Relationship Id="rId6" Type="http://schemas.openxmlformats.org/officeDocument/2006/relationships/oleObject" Target="../embeddings/oleObject2.bin"/><Relationship Id="rId7" Type="http://schemas.openxmlformats.org/officeDocument/2006/relationships/image" Target="../media/image5.emf"/><Relationship Id="rId1" Type="http://schemas.openxmlformats.org/officeDocument/2006/relationships/vmlDrawing" Target="../drawings/vmlDrawing2.vml"/><Relationship Id="rId2" Type="http://schemas.openxmlformats.org/officeDocument/2006/relationships/tags" Target="../tags/tag4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.png"/><Relationship Id="rId3" Type="http://schemas.openxmlformats.org/officeDocument/2006/relationships/image" Target="../media/image3.png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</p:spPr>
        <p:txBody>
          <a:bodyPr anchor="b"/>
          <a:lstStyle>
            <a:lvl1pPr algn="ctr">
              <a:defRPr sz="4500">
                <a:latin typeface="Franklin Gothic Demi" panose="020B0703020102020204" pitchFamily="34" charset="0"/>
              </a:defRPr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>
            <a:normAutofit/>
          </a:bodyPr>
          <a:lstStyle>
            <a:lvl1pPr marL="0" indent="0" algn="ctr">
              <a:buNone/>
              <a:defRPr sz="2800">
                <a:latin typeface="Franklin Gothic Book" panose="020B0503020102020204" pitchFamily="34" charset="0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de-DE" dirty="0" smtClean="0"/>
              <a:t>Formatvorlage des Untertitelmasters durch Klicken bearbeite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>
          <a:xfrm>
            <a:off x="3916800" y="6360225"/>
            <a:ext cx="2157750" cy="365125"/>
          </a:xfrm>
        </p:spPr>
        <p:txBody>
          <a:bodyPr/>
          <a:lstStyle/>
          <a:p>
            <a:fld id="{DC074D37-AEB9-46CA-B316-7CBCC268AF09}" type="slidenum">
              <a:rPr lang="de-DE" smtClean="0"/>
              <a:pPr/>
              <a:t>‹Nr.›</a:t>
            </a:fld>
            <a:endParaRPr lang="de-DE"/>
          </a:p>
        </p:txBody>
      </p:sp>
      <p:pic>
        <p:nvPicPr>
          <p:cNvPr id="7" name="Grafik 6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160673" y="6298469"/>
            <a:ext cx="1803327" cy="480887"/>
          </a:xfrm>
          <a:prstGeom prst="rect">
            <a:avLst/>
          </a:prstGeom>
        </p:spPr>
      </p:pic>
      <p:pic>
        <p:nvPicPr>
          <p:cNvPr id="8" name="Grafik 7" descr="PPT_Silhouette.png"/>
          <p:cNvPicPr>
            <a:picLocks noChangeAspect="1"/>
          </p:cNvPicPr>
          <p:nvPr userDrawn="1"/>
        </p:nvPicPr>
        <p:blipFill>
          <a:blip r:embed="rId3" cstate="print"/>
          <a:stretch>
            <a:fillRect/>
          </a:stretch>
        </p:blipFill>
        <p:spPr bwMode="gray">
          <a:xfrm>
            <a:off x="0" y="6000761"/>
            <a:ext cx="9144259" cy="359464"/>
          </a:xfrm>
          <a:prstGeom prst="rect">
            <a:avLst/>
          </a:prstGeom>
          <a:noFill/>
          <a:ln>
            <a:noFill/>
          </a:ln>
        </p:spPr>
      </p:pic>
      <p:pic>
        <p:nvPicPr>
          <p:cNvPr id="10" name="Grafik 9" descr="PPT_Logo_INF.png"/>
          <p:cNvPicPr>
            <a:picLocks noChangeAspect="1"/>
          </p:cNvPicPr>
          <p:nvPr userDrawn="1"/>
        </p:nvPicPr>
        <p:blipFill>
          <a:blip r:embed="rId4" cstate="print"/>
          <a:stretch>
            <a:fillRect/>
          </a:stretch>
        </p:blipFill>
        <p:spPr>
          <a:xfrm>
            <a:off x="6748478" y="328591"/>
            <a:ext cx="1727950" cy="539196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589777906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AED274-D94F-4ED6-A484-7A37576B4C41}" type="datetime1">
              <a:rPr lang="de-DE" smtClean="0"/>
              <a:pPr/>
              <a:t>11.06.17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– Streng vertraulich, Vertraulich, Intern –                         Autor / Thema der Präsentation </a:t>
            </a:r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074D37-AEB9-46CA-B316-7CBCC268AF09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49176769"/>
      </p:ext>
    </p:extLst>
  </p:cSld>
  <p:clrMapOvr>
    <a:masterClrMapping/>
  </p:clrMapOvr>
  <p:hf hdr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</p:spPr>
        <p:txBody>
          <a:bodyPr vert="eaVert"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800725" cy="5811838"/>
          </a:xfrm>
        </p:spPr>
        <p:txBody>
          <a:bodyPr vert="eaVert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AED274-D94F-4ED6-A484-7A37576B4C41}" type="datetime1">
              <a:rPr lang="de-DE" smtClean="0"/>
              <a:pPr/>
              <a:t>11.06.17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– Streng vertraulich, Vertraulich, Intern –                         Autor / Thema der Präsentation </a:t>
            </a:r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074D37-AEB9-46CA-B316-7CBCC268AF09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80436674"/>
      </p:ext>
    </p:extLst>
  </p:cSld>
  <p:clrMapOvr>
    <a:masterClrMapping/>
  </p:clrMapOvr>
  <p:hf hdr="0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ennfoli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5072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0040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0" name="Object 1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black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5058" name="Titelplatzhalter 1"/>
          <p:cNvSpPr>
            <a:spLocks noGrp="1"/>
          </p:cNvSpPr>
          <p:nvPr>
            <p:ph type="ctrTitle"/>
            <p:custDataLst>
              <p:tags r:id="rId3"/>
            </p:custDataLst>
          </p:nvPr>
        </p:nvSpPr>
        <p:spPr bwMode="black">
          <a:xfrm>
            <a:off x="304800" y="1773238"/>
            <a:ext cx="8496300" cy="1655762"/>
          </a:xfrm>
        </p:spPr>
        <p:txBody>
          <a:bodyPr/>
          <a:lstStyle>
            <a:lvl1pPr>
              <a:defRPr sz="6000" smtClean="0">
                <a:solidFill>
                  <a:schemeClr val="bg1"/>
                </a:solidFill>
              </a:defRPr>
            </a:lvl1pPr>
          </a:lstStyle>
          <a:p>
            <a:r>
              <a:rPr dirty="0" smtClean="0"/>
              <a:t>TITELMASTERFORMAT DURCH KLICKEN BEARBEITEN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04800" y="333375"/>
            <a:ext cx="8496300" cy="415498"/>
          </a:xfrm>
        </p:spPr>
        <p:txBody>
          <a:bodyPr/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04799" y="1773238"/>
            <a:ext cx="2736000" cy="4284662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076010" y="1773238"/>
            <a:ext cx="2736000" cy="4284662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>
          <a:xfrm>
            <a:off x="6804025" y="6432550"/>
            <a:ext cx="1800225" cy="136525"/>
          </a:xfrm>
        </p:spPr>
        <p:txBody>
          <a:bodyPr/>
          <a:lstStyle>
            <a:lvl1pPr>
              <a:defRPr/>
            </a:lvl1pPr>
          </a:lstStyle>
          <a:p>
            <a:fld id="{48815FEB-4FD7-4068-86A3-764BD8FB9BD8}" type="datetime1">
              <a:rPr lang="de-DE" smtClean="0"/>
              <a:pPr/>
              <a:t>11.06.17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>
          <a:xfrm>
            <a:off x="2557463" y="6432550"/>
            <a:ext cx="4102100" cy="136525"/>
          </a:xfrm>
        </p:spPr>
        <p:txBody>
          <a:bodyPr/>
          <a:lstStyle>
            <a:lvl1pPr>
              <a:defRPr/>
            </a:lvl1pPr>
          </a:lstStyle>
          <a:p>
            <a:r>
              <a:rPr lang="de-DE" smtClean="0"/>
              <a:t>– Streng vertraulich, Vertraulich, Intern –                         Autor / Thema der Präsentation </a:t>
            </a:r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>
          <a:xfrm>
            <a:off x="8540750" y="6432550"/>
            <a:ext cx="288925" cy="136525"/>
          </a:xfrm>
        </p:spPr>
        <p:txBody>
          <a:bodyPr/>
          <a:lstStyle>
            <a:lvl1pPr>
              <a:defRPr/>
            </a:lvl1pPr>
          </a:lstStyle>
          <a:p>
            <a:fld id="{66EA1891-FA8C-463D-A9E1-6E97ED9952CA}" type="slidenum">
              <a:rPr lang="de-DE"/>
              <a:pPr/>
              <a:t>‹Nr.›</a:t>
            </a:fld>
            <a:endParaRPr lang="de-DE"/>
          </a:p>
        </p:txBody>
      </p:sp>
      <p:sp>
        <p:nvSpPr>
          <p:cNvPr id="8" name="Inhaltsplatzhalter 3"/>
          <p:cNvSpPr>
            <a:spLocks noGrp="1"/>
          </p:cNvSpPr>
          <p:nvPr>
            <p:ph sz="half" idx="13"/>
          </p:nvPr>
        </p:nvSpPr>
        <p:spPr>
          <a:xfrm>
            <a:off x="3190404" y="1773238"/>
            <a:ext cx="2736000" cy="4284662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04800" y="333375"/>
            <a:ext cx="8496300" cy="415498"/>
          </a:xfrm>
        </p:spPr>
        <p:txBody>
          <a:bodyPr/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04799" y="1773238"/>
            <a:ext cx="2028826" cy="4284662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27575" y="1773238"/>
            <a:ext cx="2030400" cy="4284662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>
          <a:xfrm>
            <a:off x="6804025" y="6432550"/>
            <a:ext cx="1800225" cy="136525"/>
          </a:xfrm>
        </p:spPr>
        <p:txBody>
          <a:bodyPr/>
          <a:lstStyle>
            <a:lvl1pPr>
              <a:defRPr/>
            </a:lvl1pPr>
          </a:lstStyle>
          <a:p>
            <a:fld id="{461EDEAC-252C-4188-B9E3-CED9B38824C8}" type="datetime1">
              <a:rPr lang="de-DE" smtClean="0"/>
              <a:pPr/>
              <a:t>11.06.17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>
          <a:xfrm>
            <a:off x="2557463" y="6432550"/>
            <a:ext cx="4102100" cy="136525"/>
          </a:xfrm>
        </p:spPr>
        <p:txBody>
          <a:bodyPr/>
          <a:lstStyle>
            <a:lvl1pPr>
              <a:defRPr/>
            </a:lvl1pPr>
          </a:lstStyle>
          <a:p>
            <a:r>
              <a:rPr lang="de-DE" smtClean="0"/>
              <a:t>– Streng vertraulich, Vertraulich, Intern –                         Autor / Thema der Präsentation </a:t>
            </a:r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>
          <a:xfrm>
            <a:off x="8540750" y="6432550"/>
            <a:ext cx="288925" cy="136525"/>
          </a:xfrm>
        </p:spPr>
        <p:txBody>
          <a:bodyPr/>
          <a:lstStyle>
            <a:lvl1pPr>
              <a:defRPr/>
            </a:lvl1pPr>
          </a:lstStyle>
          <a:p>
            <a:fld id="{66EA1891-FA8C-463D-A9E1-6E97ED9952CA}" type="slidenum">
              <a:rPr lang="de-DE"/>
              <a:pPr/>
              <a:t>‹Nr.›</a:t>
            </a:fld>
            <a:endParaRPr lang="de-DE"/>
          </a:p>
        </p:txBody>
      </p:sp>
      <p:sp>
        <p:nvSpPr>
          <p:cNvPr id="8" name="Inhaltsplatzhalter 3"/>
          <p:cNvSpPr>
            <a:spLocks noGrp="1"/>
          </p:cNvSpPr>
          <p:nvPr>
            <p:ph sz="half" idx="13"/>
          </p:nvPr>
        </p:nvSpPr>
        <p:spPr>
          <a:xfrm>
            <a:off x="2465400" y="1773238"/>
            <a:ext cx="2030400" cy="4284662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9" name="Inhaltsplatzhalter 3"/>
          <p:cNvSpPr>
            <a:spLocks noGrp="1"/>
          </p:cNvSpPr>
          <p:nvPr>
            <p:ph sz="half" idx="14"/>
          </p:nvPr>
        </p:nvSpPr>
        <p:spPr>
          <a:xfrm>
            <a:off x="6789750" y="1773238"/>
            <a:ext cx="2030400" cy="4284662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avigationsleiste_Trennfolie_Gr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5072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8408" name="think-cell Folie" r:id="rId6" imgW="360" imgH="360" progId="TCLayout.ActiveDocument.1">
                  <p:embed/>
                </p:oleObj>
              </mc:Choice>
              <mc:Fallback>
                <p:oleObj name="think-cell Folie" r:id="rId6" imgW="360" imgH="360" progId="TCLayout.ActiveDocument.1">
                  <p:embed/>
                  <p:pic>
                    <p:nvPicPr>
                      <p:cNvPr id="0" name="Object 1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black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2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white">
          <a:xfrm>
            <a:off x="0" y="0"/>
            <a:ext cx="9144000" cy="6348413"/>
          </a:xfrm>
          <a:prstGeom prst="rect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de-DE"/>
          </a:p>
        </p:txBody>
      </p:sp>
      <p:sp>
        <p:nvSpPr>
          <p:cNvPr id="45058" name="Titelplatzhalter 1"/>
          <p:cNvSpPr>
            <a:spLocks noGrp="1"/>
          </p:cNvSpPr>
          <p:nvPr>
            <p:ph type="ctrTitle"/>
            <p:custDataLst>
              <p:tags r:id="rId4"/>
            </p:custDataLst>
          </p:nvPr>
        </p:nvSpPr>
        <p:spPr bwMode="black">
          <a:xfrm>
            <a:off x="304800" y="1773238"/>
            <a:ext cx="8496300" cy="1655762"/>
          </a:xfrm>
        </p:spPr>
        <p:txBody>
          <a:bodyPr/>
          <a:lstStyle>
            <a:lvl1pPr>
              <a:defRPr sz="6000" smtClean="0">
                <a:solidFill>
                  <a:schemeClr val="bg1"/>
                </a:solidFill>
              </a:defRPr>
            </a:lvl1pPr>
          </a:lstStyle>
          <a:p>
            <a:r>
              <a:rPr smtClean="0"/>
              <a:t>TITELMASTERFORMAT DURCH KLICKEN BEARBEITEN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C074D37-AEB9-46CA-B316-7CBCC268AF09}" type="slidenum">
              <a:rPr lang="de-DE" smtClean="0"/>
              <a:pPr/>
              <a:t>‹Nr.›</a:t>
            </a:fld>
            <a:endParaRPr lang="de-DE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2400">
                <a:latin typeface="Franklin Gothic Demi" panose="020B0703020102020204" pitchFamily="34" charset="0"/>
              </a:defRPr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>
            <a:lvl1pPr>
              <a:defRPr sz="2000">
                <a:latin typeface="Franklin Gothic Book" panose="020B0503020102020204" pitchFamily="34" charset="0"/>
              </a:defRPr>
            </a:lvl1pPr>
            <a:lvl2pPr>
              <a:defRPr sz="2000">
                <a:latin typeface="Franklin Gothic Book" panose="020B0503020102020204" pitchFamily="34" charset="0"/>
              </a:defRPr>
            </a:lvl2pPr>
            <a:lvl3pPr>
              <a:defRPr sz="2000">
                <a:latin typeface="Franklin Gothic Book" panose="020B0503020102020204" pitchFamily="34" charset="0"/>
              </a:defRPr>
            </a:lvl3pPr>
            <a:lvl4pPr>
              <a:defRPr sz="2000">
                <a:latin typeface="Franklin Gothic Book" panose="020B0503020102020204" pitchFamily="34" charset="0"/>
              </a:defRPr>
            </a:lvl4pPr>
            <a:lvl5pPr>
              <a:defRPr sz="2000">
                <a:latin typeface="Franklin Gothic Book" panose="020B0503020102020204" pitchFamily="34" charset="0"/>
              </a:defRPr>
            </a:lvl5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>
          <a:xfrm>
            <a:off x="3859200" y="6440412"/>
            <a:ext cx="2057400" cy="365125"/>
          </a:xfrm>
        </p:spPr>
        <p:txBody>
          <a:bodyPr/>
          <a:lstStyle>
            <a:lvl1pPr algn="ctr">
              <a:defRPr/>
            </a:lvl1pPr>
          </a:lstStyle>
          <a:p>
            <a:fld id="{71B5F043-C5C9-4543-B156-099DED57FF04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8" name="Grafik 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811200" y="6403560"/>
            <a:ext cx="1704150" cy="454440"/>
          </a:xfrm>
          <a:prstGeom prst="rect">
            <a:avLst/>
          </a:prstGeom>
        </p:spPr>
      </p:pic>
      <p:pic>
        <p:nvPicPr>
          <p:cNvPr id="9" name="Grafik 8" descr="PPT_Silhouette.png"/>
          <p:cNvPicPr>
            <a:picLocks noChangeAspect="1"/>
          </p:cNvPicPr>
          <p:nvPr userDrawn="1"/>
        </p:nvPicPr>
        <p:blipFill>
          <a:blip r:embed="rId3" cstate="print"/>
          <a:stretch>
            <a:fillRect/>
          </a:stretch>
        </p:blipFill>
        <p:spPr bwMode="gray">
          <a:xfrm>
            <a:off x="0" y="6044096"/>
            <a:ext cx="9144259" cy="359464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1348156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23888" y="1709739"/>
            <a:ext cx="7886700" cy="2852737"/>
          </a:xfrm>
        </p:spPr>
        <p:txBody>
          <a:bodyPr anchor="b"/>
          <a:lstStyle>
            <a:lvl1pPr>
              <a:defRPr sz="4500">
                <a:latin typeface="Franklin Gothic Demi" panose="020B0703020102020204" pitchFamily="34" charset="0"/>
              </a:defRPr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23888" y="4589464"/>
            <a:ext cx="7886700" cy="1500187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  <a:latin typeface="Franklin Gothic Book" panose="020B0503020102020204" pitchFamily="34" charset="0"/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 dirty="0" smtClean="0"/>
              <a:t>Textmasterformat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AED274-D94F-4ED6-A484-7A37576B4C41}" type="datetime1">
              <a:rPr lang="de-DE" smtClean="0"/>
              <a:pPr/>
              <a:t>11.06.17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– Streng vertraulich, Vertraulich, Intern –                         Autor / Thema der Präsentation </a:t>
            </a:r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074D37-AEB9-46CA-B316-7CBCC268AF09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92150766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2400">
                <a:latin typeface="Franklin Gothic Demi" panose="020B0703020102020204" pitchFamily="34" charset="0"/>
              </a:defRPr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</p:spPr>
        <p:txBody>
          <a:bodyPr>
            <a:normAutofit/>
          </a:bodyPr>
          <a:lstStyle>
            <a:lvl1pPr>
              <a:defRPr sz="2000">
                <a:latin typeface="Franklin Gothic Book" panose="020B0503020102020204" pitchFamily="34" charset="0"/>
              </a:defRPr>
            </a:lvl1pPr>
            <a:lvl2pPr>
              <a:defRPr sz="2000">
                <a:latin typeface="Franklin Gothic Book" panose="020B0503020102020204" pitchFamily="34" charset="0"/>
              </a:defRPr>
            </a:lvl2pPr>
            <a:lvl3pPr>
              <a:defRPr sz="2000">
                <a:latin typeface="Franklin Gothic Book" panose="020B0503020102020204" pitchFamily="34" charset="0"/>
              </a:defRPr>
            </a:lvl3pPr>
            <a:lvl4pPr>
              <a:defRPr sz="2000">
                <a:latin typeface="Franklin Gothic Book" panose="020B0503020102020204" pitchFamily="34" charset="0"/>
              </a:defRPr>
            </a:lvl4pPr>
            <a:lvl5pPr>
              <a:defRPr sz="2000">
                <a:latin typeface="Franklin Gothic Book" panose="020B0503020102020204" pitchFamily="34" charset="0"/>
              </a:defRPr>
            </a:lvl5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</p:spPr>
        <p:txBody>
          <a:bodyPr>
            <a:normAutofit/>
          </a:bodyPr>
          <a:lstStyle>
            <a:lvl1pPr marL="171450" indent="-171450">
              <a:buClr>
                <a:schemeClr val="accent4"/>
              </a:buClr>
              <a:buFont typeface="Symbol" panose="05050102010706020507" pitchFamily="18" charset="2"/>
              <a:buChar char="-"/>
              <a:defRPr sz="2000">
                <a:latin typeface="Franklin Gothic Book" panose="020B0503020102020204" pitchFamily="34" charset="0"/>
              </a:defRPr>
            </a:lvl1pPr>
            <a:lvl2pPr>
              <a:buClr>
                <a:schemeClr val="accent4"/>
              </a:buClr>
              <a:defRPr sz="2000">
                <a:latin typeface="Franklin Gothic Book" panose="020B0503020102020204" pitchFamily="34" charset="0"/>
              </a:defRPr>
            </a:lvl2pPr>
            <a:lvl3pPr>
              <a:defRPr sz="2000">
                <a:latin typeface="Franklin Gothic Book" panose="020B0503020102020204" pitchFamily="34" charset="0"/>
              </a:defRPr>
            </a:lvl3pPr>
            <a:lvl4pPr>
              <a:defRPr sz="2000">
                <a:latin typeface="Franklin Gothic Book" panose="020B0503020102020204" pitchFamily="34" charset="0"/>
              </a:defRPr>
            </a:lvl4pPr>
            <a:lvl5pPr>
              <a:defRPr sz="2000">
                <a:latin typeface="Franklin Gothic Book" panose="020B0503020102020204" pitchFamily="34" charset="0"/>
              </a:defRPr>
            </a:lvl5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9EE259-8F50-4C72-BA97-131791B27F72}" type="datetime1">
              <a:rPr lang="de-DE" smtClean="0"/>
              <a:pPr/>
              <a:t>11.06.17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– Streng vertraulich, Vertraulich, Intern –                         Autor / Thema der Präsentation </a:t>
            </a:r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EA1891-FA8C-463D-A9E1-6E97ED9952CA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6589332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29841" y="365126"/>
            <a:ext cx="7886700" cy="1325563"/>
          </a:xfrm>
        </p:spPr>
        <p:txBody>
          <a:bodyPr/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/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391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391" cy="3684588"/>
          </a:xfrm>
        </p:spPr>
        <p:txBody>
          <a:bodyPr/>
          <a:lstStyle/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AED274-D94F-4ED6-A484-7A37576B4C41}" type="datetime1">
              <a:rPr lang="de-DE" smtClean="0"/>
              <a:pPr/>
              <a:t>11.06.17</a:t>
            </a:fld>
            <a:endParaRPr lang="de-DE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– Streng vertraulich, Vertraulich, Intern –                         Autor / Thema der Präsentation </a:t>
            </a:r>
            <a:endParaRPr lang="de-DE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074D37-AEB9-46CA-B316-7CBCC268AF09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36795870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47EFE7-5BFF-4DC6-9696-CA676B3B289D}" type="datetime1">
              <a:rPr lang="de-DE" smtClean="0"/>
              <a:pPr/>
              <a:t>11.06.17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– Streng vertraulich, Vertraulich, Intern –                         Autor / Thema der Präsentation </a:t>
            </a:r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856C3B-4879-44CB-8ACD-F9C43CE31EF6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819454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22C77EA-42BD-4445-BD8C-A3B9FA9CB3EB}" type="datetime1">
              <a:rPr lang="de-DE" smtClean="0"/>
              <a:pPr/>
              <a:t>11.06.17</a:t>
            </a:fld>
            <a:endParaRPr lang="de-DE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– Streng vertraulich, Vertraulich, Intern –                         Autor / Thema der Präsentation </a:t>
            </a:r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3C9E69-E43C-4763-8857-C1F967C53060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7111355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AED274-D94F-4ED6-A484-7A37576B4C41}" type="datetime1">
              <a:rPr lang="de-DE" smtClean="0"/>
              <a:pPr/>
              <a:t>11.06.17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– Streng vertraulich, Vertraulich, Intern –                         Autor / Thema der Präsentation </a:t>
            </a:r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074D37-AEB9-46CA-B316-7CBCC268AF09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37846536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AED274-D94F-4ED6-A484-7A37576B4C41}" type="datetime1">
              <a:rPr lang="de-DE" smtClean="0"/>
              <a:pPr/>
              <a:t>11.06.17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– Streng vertraulich, Vertraulich, Intern –                         Autor / Thema der Präsentation </a:t>
            </a:r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074D37-AEB9-46CA-B316-7CBCC268AF09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79030612"/>
      </p:ext>
    </p:extLst>
  </p:cSld>
  <p:clrMapOvr>
    <a:masterClrMapping/>
  </p:clrMapOvr>
  <p:hf hdr="0"/>
</p:sldLayout>
</file>

<file path=ppt/slideMasters/_rels/slideMaster1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11.xml"/><Relationship Id="rId12" Type="http://schemas.openxmlformats.org/officeDocument/2006/relationships/slideLayout" Target="../slideLayouts/slideLayout12.xml"/><Relationship Id="rId13" Type="http://schemas.openxmlformats.org/officeDocument/2006/relationships/slideLayout" Target="../slideLayouts/slideLayout13.xml"/><Relationship Id="rId14" Type="http://schemas.openxmlformats.org/officeDocument/2006/relationships/slideLayout" Target="../slideLayouts/slideLayout14.xml"/><Relationship Id="rId15" Type="http://schemas.openxmlformats.org/officeDocument/2006/relationships/slideLayout" Target="../slideLayouts/slideLayout15.xml"/><Relationship Id="rId16" Type="http://schemas.openxmlformats.org/officeDocument/2006/relationships/theme" Target="../theme/theme1.xml"/><Relationship Id="rId17" Type="http://schemas.openxmlformats.org/officeDocument/2006/relationships/image" Target="../media/image1.jpg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Relationship Id="rId9" Type="http://schemas.openxmlformats.org/officeDocument/2006/relationships/slideLayout" Target="../slideLayouts/slideLayout9.xml"/><Relationship Id="rId10" Type="http://schemas.openxmlformats.org/officeDocument/2006/relationships/slideLayout" Target="../slideLayouts/slideLayout1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DAED274-D94F-4ED6-A484-7A37576B4C41}" type="datetime1">
              <a:rPr lang="de-DE" smtClean="0"/>
              <a:pPr/>
              <a:t>11.06.17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 dirty="0" smtClean="0"/>
              <a:t>– Streng vertraulich, Vertraulich, Intern –                         Autor / Thema der Präsentation 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C074D37-AEB9-46CA-B316-7CBCC268AF09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8" name="Grafik 7"/>
          <p:cNvPicPr>
            <a:picLocks noChangeAspect="1"/>
          </p:cNvPicPr>
          <p:nvPr userDrawn="1"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6643" y="6413055"/>
            <a:ext cx="2389407" cy="3948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816153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8" r:id="rId1"/>
    <p:sldLayoutId id="2147483769" r:id="rId2"/>
    <p:sldLayoutId id="2147483770" r:id="rId3"/>
    <p:sldLayoutId id="2147483771" r:id="rId4"/>
    <p:sldLayoutId id="2147483772" r:id="rId5"/>
    <p:sldLayoutId id="2147483773" r:id="rId6"/>
    <p:sldLayoutId id="2147483774" r:id="rId7"/>
    <p:sldLayoutId id="2147483775" r:id="rId8"/>
    <p:sldLayoutId id="2147483776" r:id="rId9"/>
    <p:sldLayoutId id="2147483777" r:id="rId10"/>
    <p:sldLayoutId id="2147483778" r:id="rId11"/>
    <p:sldLayoutId id="2147483758" r:id="rId12"/>
    <p:sldLayoutId id="2147483760" r:id="rId13"/>
    <p:sldLayoutId id="2147483761" r:id="rId14"/>
    <p:sldLayoutId id="2147483766" r:id="rId15"/>
  </p:sldLayoutIdLst>
  <p:timing>
    <p:tnLst>
      <p:par>
        <p:cTn id="1" dur="indefinite" restart="never" nodeType="tmRoot"/>
      </p:par>
    </p:tnLst>
  </p:timing>
  <p:hf hdr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2400" kern="1200">
          <a:solidFill>
            <a:srgbClr val="FFC000"/>
          </a:solidFill>
          <a:latin typeface="Franklin Gothic Demi" panose="020B0703020102020204" pitchFamily="34" charset="0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Franklin Gothic Book" panose="020B0503020102020204" pitchFamily="34" charset="0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Franklin Gothic Book" panose="020B0503020102020204" pitchFamily="34" charset="0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Franklin Gothic Book" panose="020B0503020102020204" pitchFamily="34" charset="0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Franklin Gothic Book" panose="020B0503020102020204" pitchFamily="34" charset="0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Franklin Gothic Book" panose="020B0503020102020204" pitchFamily="34" charset="0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4" Type="http://schemas.openxmlformats.org/officeDocument/2006/relationships/notesSlide" Target="../notesSlides/notesSlide1.xml"/><Relationship Id="rId5" Type="http://schemas.openxmlformats.org/officeDocument/2006/relationships/oleObject" Target="../embeddings/oleObject3.bin"/><Relationship Id="rId6" Type="http://schemas.openxmlformats.org/officeDocument/2006/relationships/image" Target="../media/image5.emf"/><Relationship Id="rId1" Type="http://schemas.openxmlformats.org/officeDocument/2006/relationships/vmlDrawing" Target="../drawings/vmlDrawing3.vml"/><Relationship Id="rId2" Type="http://schemas.openxmlformats.org/officeDocument/2006/relationships/tags" Target="../tags/tag7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384" name="Object 4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3495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373" name="Rectangle 37"/>
          <p:cNvSpPr>
            <a:spLocks noGrp="1"/>
          </p:cNvSpPr>
          <p:nvPr>
            <p:ph type="ctrTitle"/>
          </p:nvPr>
        </p:nvSpPr>
        <p:spPr>
          <a:xfrm>
            <a:off x="381000" y="1942771"/>
            <a:ext cx="8763000" cy="2585323"/>
          </a:xfrm>
        </p:spPr>
        <p:txBody>
          <a:bodyPr>
            <a:noAutofit/>
          </a:bodyPr>
          <a:lstStyle/>
          <a:p>
            <a:pPr algn="l">
              <a:lnSpc>
                <a:spcPct val="100000"/>
              </a:lnSpc>
            </a:pPr>
            <a:r>
              <a:rPr lang="en-US" sz="4400" dirty="0" err="1" smtClean="0">
                <a:solidFill>
                  <a:srgbClr val="FF0000"/>
                </a:solidFill>
              </a:rPr>
              <a:t>far</a:t>
            </a:r>
            <a:r>
              <a:rPr lang="en-US" sz="4400" dirty="0" err="1" smtClean="0"/>
              <a:t>be</a:t>
            </a:r>
            <a:r>
              <a:rPr lang="en-US" sz="4400" dirty="0" err="1" smtClean="0">
                <a:solidFill>
                  <a:srgbClr val="0C4C8E"/>
                </a:solidFill>
              </a:rPr>
              <a:t>nfr</a:t>
            </a:r>
            <a:r>
              <a:rPr lang="en-US" sz="4400" dirty="0" err="1" smtClean="0">
                <a:solidFill>
                  <a:srgbClr val="00B050"/>
                </a:solidFill>
              </a:rPr>
              <a:t>oh</a:t>
            </a:r>
            <a:r>
              <a:rPr lang="de-DE" sz="4000" dirty="0" smtClean="0">
                <a:solidFill>
                  <a:schemeClr val="tx1"/>
                </a:solidFill>
              </a:rPr>
              <a:t/>
            </a:r>
            <a:br>
              <a:rPr lang="de-DE" sz="4000" dirty="0" smtClean="0">
                <a:solidFill>
                  <a:schemeClr val="tx1"/>
                </a:solidFill>
              </a:rPr>
            </a:br>
            <a:r>
              <a:rPr lang="de-DE" sz="4000" dirty="0" smtClean="0">
                <a:solidFill>
                  <a:schemeClr val="tx1"/>
                </a:solidFill>
              </a:rPr>
              <a:t/>
            </a:r>
            <a:br>
              <a:rPr lang="de-DE" sz="4000" dirty="0" smtClean="0">
                <a:solidFill>
                  <a:schemeClr val="tx1"/>
                </a:solidFill>
              </a:rPr>
            </a:br>
            <a:endParaRPr sz="3200" dirty="0">
              <a:solidFill>
                <a:schemeClr val="tx1"/>
              </a:solidFill>
            </a:endParaRPr>
          </a:p>
        </p:txBody>
      </p:sp>
      <p:sp>
        <p:nvSpPr>
          <p:cNvPr id="14374" name="Rectangle 38"/>
          <p:cNvSpPr>
            <a:spLocks noGrp="1"/>
          </p:cNvSpPr>
          <p:nvPr>
            <p:ph type="subTitle" idx="1"/>
          </p:nvPr>
        </p:nvSpPr>
        <p:spPr>
          <a:xfrm>
            <a:off x="381000" y="3684798"/>
            <a:ext cx="7665720" cy="539730"/>
          </a:xfrm>
        </p:spPr>
        <p:txBody>
          <a:bodyPr>
            <a:normAutofit fontScale="77500" lnSpcReduction="20000"/>
          </a:bodyPr>
          <a:lstStyle/>
          <a:p>
            <a:pPr algn="l"/>
            <a:r>
              <a:rPr lang="de-DE" dirty="0" smtClean="0"/>
              <a:t>Natascha Siegle, Peter </a:t>
            </a:r>
            <a:r>
              <a:rPr lang="de-DE" dirty="0" err="1" smtClean="0"/>
              <a:t>Kühfuß</a:t>
            </a:r>
            <a:r>
              <a:rPr lang="de-DE" dirty="0" smtClean="0"/>
              <a:t>, Johannes Wanner, Anna </a:t>
            </a:r>
            <a:r>
              <a:rPr lang="de-DE" dirty="0" err="1" smtClean="0"/>
              <a:t>Gorr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2117327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Business Proposition </a:t>
            </a:r>
            <a:r>
              <a:rPr lang="de-DE" dirty="0" err="1" smtClean="0"/>
              <a:t>Canva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 err="1" smtClean="0"/>
              <a:t>Tagible</a:t>
            </a:r>
            <a:r>
              <a:rPr lang="de-DE" dirty="0" smtClean="0"/>
              <a:t>/</a:t>
            </a:r>
            <a:r>
              <a:rPr lang="de-DE" dirty="0" err="1" smtClean="0"/>
              <a:t>intangible</a:t>
            </a:r>
            <a:r>
              <a:rPr lang="de-DE" dirty="0" smtClean="0"/>
              <a:t> (</a:t>
            </a:r>
            <a:r>
              <a:rPr lang="de-DE" dirty="0" err="1" smtClean="0"/>
              <a:t>value</a:t>
            </a:r>
            <a:r>
              <a:rPr lang="de-DE" dirty="0" smtClean="0"/>
              <a:t> </a:t>
            </a:r>
            <a:r>
              <a:rPr lang="de-DE" dirty="0" err="1" smtClean="0"/>
              <a:t>conversion</a:t>
            </a:r>
            <a:r>
              <a:rPr lang="de-DE" dirty="0" smtClean="0"/>
              <a:t>)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B5F043-C5C9-4543-B156-099DED57FF04}" type="slidenum">
              <a:rPr lang="de-DE" smtClean="0"/>
              <a:pPr/>
              <a:t>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2339414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Konzept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B5F043-C5C9-4543-B156-099DED57FF04}" type="slidenum">
              <a:rPr lang="de-DE" smtClean="0"/>
              <a:pPr/>
              <a:t>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668755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Architektur und Hardware 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B5F043-C5C9-4543-B156-099DED57FF04}" type="slidenum">
              <a:rPr lang="de-DE" smtClean="0"/>
              <a:pPr/>
              <a:t>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893573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Demonstratio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dirty="0" smtClean="0"/>
          </a:p>
          <a:p>
            <a:endParaRPr lang="en-US" dirty="0" smtClean="0"/>
          </a:p>
          <a:p>
            <a:pPr marL="0" indent="0">
              <a:buNone/>
            </a:pPr>
            <a:r>
              <a:rPr lang="en-US" sz="9600" dirty="0" err="1" smtClean="0">
                <a:solidFill>
                  <a:srgbClr val="FF0000"/>
                </a:solidFill>
              </a:rPr>
              <a:t>far</a:t>
            </a:r>
            <a:r>
              <a:rPr lang="en-US" sz="9600" dirty="0" err="1" smtClean="0">
                <a:solidFill>
                  <a:srgbClr val="FFC000"/>
                </a:solidFill>
              </a:rPr>
              <a:t>be</a:t>
            </a:r>
            <a:r>
              <a:rPr lang="en-US" sz="9600" dirty="0" err="1" smtClean="0">
                <a:solidFill>
                  <a:srgbClr val="0C4C8E"/>
                </a:solidFill>
              </a:rPr>
              <a:t>nfr</a:t>
            </a:r>
            <a:r>
              <a:rPr lang="en-US" sz="9600" dirty="0" err="1" smtClean="0">
                <a:solidFill>
                  <a:srgbClr val="00B050"/>
                </a:solidFill>
              </a:rPr>
              <a:t>oh</a:t>
            </a:r>
            <a:endParaRPr lang="en-US" sz="9600" dirty="0">
              <a:solidFill>
                <a:srgbClr val="00B050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B5F043-C5C9-4543-B156-099DED57FF04}" type="slidenum">
              <a:rPr lang="de-DE" smtClean="0"/>
              <a:pPr/>
              <a:t>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250026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 smtClean="0"/>
              <a:t>Git</a:t>
            </a:r>
            <a:r>
              <a:rPr lang="de-DE" dirty="0" smtClean="0"/>
              <a:t> Repository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/>
              <a:t>https://</a:t>
            </a:r>
            <a:r>
              <a:rPr lang="de-DE" dirty="0" err="1"/>
              <a:t>github.com</a:t>
            </a:r>
            <a:r>
              <a:rPr lang="de-DE" dirty="0"/>
              <a:t>/AnnaG18/</a:t>
            </a:r>
            <a:r>
              <a:rPr lang="de-DE" dirty="0" err="1"/>
              <a:t>IoT-Hackathon_reactiveEnvironment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B5F043-C5C9-4543-B156-099DED57FF04}" type="slidenum">
              <a:rPr lang="de-DE" smtClean="0"/>
              <a:pPr/>
              <a:t>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5175264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TCON_GUIDELINES" val="FALSE"/>
  <p:tag name="THINKCELLUNDODONOTDELETE" val="92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1TK1pNer0iCL9XGuqahT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snWwQLGmEOEJejw86OSR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ZphIxPhBEWWYcJG55Wf0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-Design">
  <a:themeElements>
    <a:clrScheme name="">
      <a:dk1>
        <a:srgbClr val="000000"/>
      </a:dk1>
      <a:lt1>
        <a:srgbClr val="FFFFFF"/>
      </a:lt1>
      <a:dk2>
        <a:srgbClr val="E20074"/>
      </a:dk2>
      <a:lt2>
        <a:srgbClr val="A4A4A4"/>
      </a:lt2>
      <a:accent1>
        <a:srgbClr val="EDEDED"/>
      </a:accent1>
      <a:accent2>
        <a:srgbClr val="D0D0D0"/>
      </a:accent2>
      <a:accent3>
        <a:srgbClr val="FFFFFF"/>
      </a:accent3>
      <a:accent4>
        <a:srgbClr val="000000"/>
      </a:accent4>
      <a:accent5>
        <a:srgbClr val="F4F4F4"/>
      </a:accent5>
      <a:accent6>
        <a:srgbClr val="BCBCBC"/>
      </a:accent6>
      <a:hlink>
        <a:srgbClr val="7C7C7C"/>
      </a:hlink>
      <a:folHlink>
        <a:srgbClr val="6C6C6C"/>
      </a:folHlink>
    </a:clrScheme>
    <a:fontScheme name="DT Fonts">
      <a:majorFont>
        <a:latin typeface="Tele-GroteskUlt"/>
        <a:ea typeface=""/>
        <a:cs typeface=""/>
      </a:majorFont>
      <a:minorFont>
        <a:latin typeface="Tele-GroteskNor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-Design">
  <a:themeElements>
    <a:clrScheme name="DT Farben">
      <a:dk1>
        <a:srgbClr val="646464"/>
      </a:dk1>
      <a:lt1>
        <a:srgbClr val="FFFFFF"/>
      </a:lt1>
      <a:dk2>
        <a:srgbClr val="E20074"/>
      </a:dk2>
      <a:lt2>
        <a:srgbClr val="FFFFFF"/>
      </a:lt2>
      <a:accent1>
        <a:srgbClr val="427BAB"/>
      </a:accent1>
      <a:accent2>
        <a:srgbClr val="FDD167"/>
      </a:accent2>
      <a:accent3>
        <a:srgbClr val="646464"/>
      </a:accent3>
      <a:accent4>
        <a:srgbClr val="64B9E4"/>
      </a:accent4>
      <a:accent5>
        <a:srgbClr val="9D9D9D"/>
      </a:accent5>
      <a:accent6>
        <a:srgbClr val="DADADA"/>
      </a:accent6>
      <a:hlink>
        <a:srgbClr val="646464"/>
      </a:hlink>
      <a:folHlink>
        <a:srgbClr val="9D9D9D"/>
      </a:folHlink>
    </a:clrScheme>
    <a:fontScheme name="DT Fonts">
      <a:majorFont>
        <a:latin typeface="Tele-GroteskUlt"/>
        <a:ea typeface=""/>
        <a:cs typeface=""/>
      </a:majorFont>
      <a:minorFont>
        <a:latin typeface="Tele-GroteskNor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37</Words>
  <Application>Microsoft Macintosh PowerPoint</Application>
  <PresentationFormat>Bildschirmpräsentation (4:3)</PresentationFormat>
  <Paragraphs>18</Paragraphs>
  <Slides>6</Slides>
  <Notes>1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7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6</vt:i4>
      </vt:variant>
    </vt:vector>
  </HeadingPairs>
  <TitlesOfParts>
    <vt:vector size="15" baseType="lpstr">
      <vt:lpstr>Franklin Gothic Book</vt:lpstr>
      <vt:lpstr>Franklin Gothic Demi</vt:lpstr>
      <vt:lpstr>Symbol</vt:lpstr>
      <vt:lpstr>Tele-GroteskFet</vt:lpstr>
      <vt:lpstr>Tele-GroteskNor</vt:lpstr>
      <vt:lpstr>Wingdings</vt:lpstr>
      <vt:lpstr>Arial</vt:lpstr>
      <vt:lpstr>Office Theme</vt:lpstr>
      <vt:lpstr>think-cell Folie</vt:lpstr>
      <vt:lpstr>farbenfroh  </vt:lpstr>
      <vt:lpstr>Business Proposition Canvas</vt:lpstr>
      <vt:lpstr>Konzept</vt:lpstr>
      <vt:lpstr>Architektur und Hardware </vt:lpstr>
      <vt:lpstr>Demonstration</vt:lpstr>
      <vt:lpstr>Git Repository</vt:lpstr>
    </vt:vector>
  </TitlesOfParts>
  <LinksUpToDate>false</LinksUpToDate>
  <SharedDoc>false</SharedDoc>
  <HyperlinksChanged>false</HyperlinksChanged>
  <AppVersion>15.0026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Gerald Stei</dc:creator>
  <cp:lastModifiedBy>Microsoft Office-Anwender</cp:lastModifiedBy>
  <cp:revision>425</cp:revision>
  <cp:lastPrinted>2012-09-04T09:22:48Z</cp:lastPrinted>
  <dcterms:created xsi:type="dcterms:W3CDTF">2011-07-07T11:12:14Z</dcterms:created>
  <dcterms:modified xsi:type="dcterms:W3CDTF">2017-06-11T18:40:5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NXPowerLiteLastOptimized">
    <vt:lpwstr>4554035</vt:lpwstr>
  </property>
  <property fmtid="{D5CDD505-2E9C-101B-9397-08002B2CF9AE}" pid="3" name="NXPowerLiteSettings">
    <vt:lpwstr>B98007B004F000</vt:lpwstr>
  </property>
  <property fmtid="{D5CDD505-2E9C-101B-9397-08002B2CF9AE}" pid="4" name="NXPowerLiteVersion">
    <vt:lpwstr>D5.0.6</vt:lpwstr>
  </property>
  <property fmtid="{D5CDD505-2E9C-101B-9397-08002B2CF9AE}" pid="5" name="NXTAG2">
    <vt:lpwstr>000800f2470000000000010250600207b98007b004f000</vt:lpwstr>
  </property>
</Properties>
</file>